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00.xml" ContentType="application/vnd.ms-office.chartcolorstyle+xml"/>
  <Override PartName="/ppt/charts/colors1001.xml" ContentType="application/vnd.ms-office.chartcolorstyle+xml"/>
  <Override PartName="/ppt/charts/colors1002.xml" ContentType="application/vnd.ms-office.chartcolorstyle+xml"/>
  <Override PartName="/ppt/charts/colors1003.xml" ContentType="application/vnd.ms-office.chartcolorstyle+xml"/>
  <Override PartName="/ppt/charts/colors1004.xml" ContentType="application/vnd.ms-office.chartcolorstyle+xml"/>
  <Override PartName="/ppt/charts/colors1005.xml" ContentType="application/vnd.ms-office.chartcolorstyle+xml"/>
  <Override PartName="/ppt/charts/colors1006.xml" ContentType="application/vnd.ms-office.chartcolorstyle+xml"/>
  <Override PartName="/ppt/charts/colors1007.xml" ContentType="application/vnd.ms-office.chartcolorstyle+xml"/>
  <Override PartName="/ppt/charts/colors1008.xml" ContentType="application/vnd.ms-office.chartcolorstyle+xml"/>
  <Override PartName="/ppt/charts/colors1009.xml" ContentType="application/vnd.ms-office.chartcolorstyle+xml"/>
  <Override PartName="/ppt/charts/colors101.xml" ContentType="application/vnd.ms-office.chartcolorstyle+xml"/>
  <Override PartName="/ppt/charts/colors1010.xml" ContentType="application/vnd.ms-office.chartcolorstyle+xml"/>
  <Override PartName="/ppt/charts/colors1011.xml" ContentType="application/vnd.ms-office.chartcolorstyle+xml"/>
  <Override PartName="/ppt/charts/colors1012.xml" ContentType="application/vnd.ms-office.chartcolorstyle+xml"/>
  <Override PartName="/ppt/charts/colors1013.xml" ContentType="application/vnd.ms-office.chartcolorstyle+xml"/>
  <Override PartName="/ppt/charts/colors1014.xml" ContentType="application/vnd.ms-office.chartcolorstyle+xml"/>
  <Override PartName="/ppt/charts/colors1015.xml" ContentType="application/vnd.ms-office.chartcolorstyle+xml"/>
  <Override PartName="/ppt/charts/colors1016.xml" ContentType="application/vnd.ms-office.chartcolorstyle+xml"/>
  <Override PartName="/ppt/charts/colors1017.xml" ContentType="application/vnd.ms-office.chartcolorstyle+xml"/>
  <Override PartName="/ppt/charts/colors1018.xml" ContentType="application/vnd.ms-office.chartcolorstyle+xml"/>
  <Override PartName="/ppt/charts/colors1019.xml" ContentType="application/vnd.ms-office.chartcolorstyle+xml"/>
  <Override PartName="/ppt/charts/colors102.xml" ContentType="application/vnd.ms-office.chartcolorstyle+xml"/>
  <Override PartName="/ppt/charts/colors1020.xml" ContentType="application/vnd.ms-office.chartcolorstyle+xml"/>
  <Override PartName="/ppt/charts/colors1021.xml" ContentType="application/vnd.ms-office.chartcolorstyle+xml"/>
  <Override PartName="/ppt/charts/colors1022.xml" ContentType="application/vnd.ms-office.chartcolorstyle+xml"/>
  <Override PartName="/ppt/charts/colors1023.xml" ContentType="application/vnd.ms-office.chartcolorstyle+xml"/>
  <Override PartName="/ppt/charts/colors1024.xml" ContentType="application/vnd.ms-office.chartcolorstyle+xml"/>
  <Override PartName="/ppt/charts/colors1025.xml" ContentType="application/vnd.ms-office.chartcolorstyle+xml"/>
  <Override PartName="/ppt/charts/colors1026.xml" ContentType="application/vnd.ms-office.chartcolorstyle+xml"/>
  <Override PartName="/ppt/charts/colors1027.xml" ContentType="application/vnd.ms-office.chartcolorstyle+xml"/>
  <Override PartName="/ppt/charts/colors1028.xml" ContentType="application/vnd.ms-office.chartcolorstyle+xml"/>
  <Override PartName="/ppt/charts/colors1029.xml" ContentType="application/vnd.ms-office.chartcolorstyle+xml"/>
  <Override PartName="/ppt/charts/colors103.xml" ContentType="application/vnd.ms-office.chartcolorstyle+xml"/>
  <Override PartName="/ppt/charts/colors1030.xml" ContentType="application/vnd.ms-office.chartcolorstyle+xml"/>
  <Override PartName="/ppt/charts/colors1031.xml" ContentType="application/vnd.ms-office.chartcolorstyle+xml"/>
  <Override PartName="/ppt/charts/colors1032.xml" ContentType="application/vnd.ms-office.chartcolorstyle+xml"/>
  <Override PartName="/ppt/charts/colors1033.xml" ContentType="application/vnd.ms-office.chartcolorstyle+xml"/>
  <Override PartName="/ppt/charts/colors1034.xml" ContentType="application/vnd.ms-office.chartcolorstyle+xml"/>
  <Override PartName="/ppt/charts/colors1035.xml" ContentType="application/vnd.ms-office.chartcolorstyle+xml"/>
  <Override PartName="/ppt/charts/colors1036.xml" ContentType="application/vnd.ms-office.chartcolorstyle+xml"/>
  <Override PartName="/ppt/charts/colors1037.xml" ContentType="application/vnd.ms-office.chartcolorstyle+xml"/>
  <Override PartName="/ppt/charts/colors1038.xml" ContentType="application/vnd.ms-office.chartcolorstyle+xml"/>
  <Override PartName="/ppt/charts/colors1039.xml" ContentType="application/vnd.ms-office.chartcolorstyle+xml"/>
  <Override PartName="/ppt/charts/colors104.xml" ContentType="application/vnd.ms-office.chartcolorstyle+xml"/>
  <Override PartName="/ppt/charts/colors1040.xml" ContentType="application/vnd.ms-office.chartcolorstyle+xml"/>
  <Override PartName="/ppt/charts/colors1041.xml" ContentType="application/vnd.ms-office.chartcolorstyle+xml"/>
  <Override PartName="/ppt/charts/colors1042.xml" ContentType="application/vnd.ms-office.chartcolorstyle+xml"/>
  <Override PartName="/ppt/charts/colors1043.xml" ContentType="application/vnd.ms-office.chartcolorstyle+xml"/>
  <Override PartName="/ppt/charts/colors1044.xml" ContentType="application/vnd.ms-office.chartcolorstyle+xml"/>
  <Override PartName="/ppt/charts/colors1045.xml" ContentType="application/vnd.ms-office.chartcolorstyle+xml"/>
  <Override PartName="/ppt/charts/colors1046.xml" ContentType="application/vnd.ms-office.chartcolorstyle+xml"/>
  <Override PartName="/ppt/charts/colors1047.xml" ContentType="application/vnd.ms-office.chartcolorstyle+xml"/>
  <Override PartName="/ppt/charts/colors1048.xml" ContentType="application/vnd.ms-office.chartcolorstyle+xml"/>
  <Override PartName="/ppt/charts/colors1049.xml" ContentType="application/vnd.ms-office.chartcolorstyle+xml"/>
  <Override PartName="/ppt/charts/colors105.xml" ContentType="application/vnd.ms-office.chartcolorstyle+xml"/>
  <Override PartName="/ppt/charts/colors1050.xml" ContentType="application/vnd.ms-office.chartcolorstyle+xml"/>
  <Override PartName="/ppt/charts/colors1051.xml" ContentType="application/vnd.ms-office.chartcolorstyle+xml"/>
  <Override PartName="/ppt/charts/colors1052.xml" ContentType="application/vnd.ms-office.chartcolorstyle+xml"/>
  <Override PartName="/ppt/charts/colors1053.xml" ContentType="application/vnd.ms-office.chartcolorstyle+xml"/>
  <Override PartName="/ppt/charts/colors1054.xml" ContentType="application/vnd.ms-office.chartcolorstyle+xml"/>
  <Override PartName="/ppt/charts/colors1055.xml" ContentType="application/vnd.ms-office.chartcolorstyle+xml"/>
  <Override PartName="/ppt/charts/colors1056.xml" ContentType="application/vnd.ms-office.chartcolorstyle+xml"/>
  <Override PartName="/ppt/charts/colors1057.xml" ContentType="application/vnd.ms-office.chartcolorstyle+xml"/>
  <Override PartName="/ppt/charts/colors1058.xml" ContentType="application/vnd.ms-office.chartcolorstyle+xml"/>
  <Override PartName="/ppt/charts/colors1059.xml" ContentType="application/vnd.ms-office.chartcolorstyle+xml"/>
  <Override PartName="/ppt/charts/colors106.xml" ContentType="application/vnd.ms-office.chartcolorstyle+xml"/>
  <Override PartName="/ppt/charts/colors1060.xml" ContentType="application/vnd.ms-office.chartcolorstyle+xml"/>
  <Override PartName="/ppt/charts/colors1061.xml" ContentType="application/vnd.ms-office.chartcolorstyle+xml"/>
  <Override PartName="/ppt/charts/colors1062.xml" ContentType="application/vnd.ms-office.chartcolorstyle+xml"/>
  <Override PartName="/ppt/charts/colors1063.xml" ContentType="application/vnd.ms-office.chartcolorstyle+xml"/>
  <Override PartName="/ppt/charts/colors1064.xml" ContentType="application/vnd.ms-office.chartcolorstyle+xml"/>
  <Override PartName="/ppt/charts/colors1065.xml" ContentType="application/vnd.ms-office.chartcolorstyle+xml"/>
  <Override PartName="/ppt/charts/colors1066.xml" ContentType="application/vnd.ms-office.chartcolorstyle+xml"/>
  <Override PartName="/ppt/charts/colors1067.xml" ContentType="application/vnd.ms-office.chartcolorstyle+xml"/>
  <Override PartName="/ppt/charts/colors1068.xml" ContentType="application/vnd.ms-office.chartcolorstyle+xml"/>
  <Override PartName="/ppt/charts/colors1069.xml" ContentType="application/vnd.ms-office.chartcolorstyle+xml"/>
  <Override PartName="/ppt/charts/colors107.xml" ContentType="application/vnd.ms-office.chartcolorstyle+xml"/>
  <Override PartName="/ppt/charts/colors1070.xml" ContentType="application/vnd.ms-office.chartcolorstyle+xml"/>
  <Override PartName="/ppt/charts/colors1071.xml" ContentType="application/vnd.ms-office.chartcolorstyle+xml"/>
  <Override PartName="/ppt/charts/colors1072.xml" ContentType="application/vnd.ms-office.chartcolorstyle+xml"/>
  <Override PartName="/ppt/charts/colors1073.xml" ContentType="application/vnd.ms-office.chartcolorstyle+xml"/>
  <Override PartName="/ppt/charts/colors1074.xml" ContentType="application/vnd.ms-office.chartcolorstyle+xml"/>
  <Override PartName="/ppt/charts/colors1075.xml" ContentType="application/vnd.ms-office.chartcolorstyle+xml"/>
  <Override PartName="/ppt/charts/colors1076.xml" ContentType="application/vnd.ms-office.chartcolorstyle+xml"/>
  <Override PartName="/ppt/charts/colors1077.xml" ContentType="application/vnd.ms-office.chartcolorstyle+xml"/>
  <Override PartName="/ppt/charts/colors1078.xml" ContentType="application/vnd.ms-office.chartcolorstyle+xml"/>
  <Override PartName="/ppt/charts/colors1079.xml" ContentType="application/vnd.ms-office.chartcolorstyle+xml"/>
  <Override PartName="/ppt/charts/colors108.xml" ContentType="application/vnd.ms-office.chartcolorstyle+xml"/>
  <Override PartName="/ppt/charts/colors1080.xml" ContentType="application/vnd.ms-office.chartcolorstyle+xml"/>
  <Override PartName="/ppt/charts/colors1081.xml" ContentType="application/vnd.ms-office.chartcolorstyle+xml"/>
  <Override PartName="/ppt/charts/colors1082.xml" ContentType="application/vnd.ms-office.chartcolorstyle+xml"/>
  <Override PartName="/ppt/charts/colors1083.xml" ContentType="application/vnd.ms-office.chartcolorstyle+xml"/>
  <Override PartName="/ppt/charts/colors1084.xml" ContentType="application/vnd.ms-office.chartcolorstyle+xml"/>
  <Override PartName="/ppt/charts/colors1085.xml" ContentType="application/vnd.ms-office.chartcolorstyle+xml"/>
  <Override PartName="/ppt/charts/colors1086.xml" ContentType="application/vnd.ms-office.chartcolorstyle+xml"/>
  <Override PartName="/ppt/charts/colors1087.xml" ContentType="application/vnd.ms-office.chartcolorstyle+xml"/>
  <Override PartName="/ppt/charts/colors1088.xml" ContentType="application/vnd.ms-office.chartcolorstyle+xml"/>
  <Override PartName="/ppt/charts/colors1089.xml" ContentType="application/vnd.ms-office.chartcolorstyle+xml"/>
  <Override PartName="/ppt/charts/colors109.xml" ContentType="application/vnd.ms-office.chartcolorstyle+xml"/>
  <Override PartName="/ppt/charts/colors1090.xml" ContentType="application/vnd.ms-office.chartcolorstyle+xml"/>
  <Override PartName="/ppt/charts/colors1091.xml" ContentType="application/vnd.ms-office.chartcolorstyle+xml"/>
  <Override PartName="/ppt/charts/colors1092.xml" ContentType="application/vnd.ms-office.chartcolorstyle+xml"/>
  <Override PartName="/ppt/charts/colors1093.xml" ContentType="application/vnd.ms-office.chartcolorstyle+xml"/>
  <Override PartName="/ppt/charts/colors1094.xml" ContentType="application/vnd.ms-office.chartcolorstyle+xml"/>
  <Override PartName="/ppt/charts/colors1095.xml" ContentType="application/vnd.ms-office.chartcolorstyle+xml"/>
  <Override PartName="/ppt/charts/colors1096.xml" ContentType="application/vnd.ms-office.chartcolorstyle+xml"/>
  <Override PartName="/ppt/charts/colors1097.xml" ContentType="application/vnd.ms-office.chartcolorstyle+xml"/>
  <Override PartName="/ppt/charts/colors1098.xml" ContentType="application/vnd.ms-office.chartcolorstyle+xml"/>
  <Override PartName="/ppt/charts/colors1099.xml" ContentType="application/vnd.ms-office.chartcolorstyle+xml"/>
  <Override PartName="/ppt/charts/colors11.xml" ContentType="application/vnd.ms-office.chartcolorstyle+xml"/>
  <Override PartName="/ppt/charts/colors110.xml" ContentType="application/vnd.ms-office.chartcolorstyle+xml"/>
  <Override PartName="/ppt/charts/colors1100.xml" ContentType="application/vnd.ms-office.chartcolorstyle+xml"/>
  <Override PartName="/ppt/charts/colors1101.xml" ContentType="application/vnd.ms-office.chartcolorstyle+xml"/>
  <Override PartName="/ppt/charts/colors1102.xml" ContentType="application/vnd.ms-office.chartcolorstyle+xml"/>
  <Override PartName="/ppt/charts/colors1103.xml" ContentType="application/vnd.ms-office.chartcolorstyle+xml"/>
  <Override PartName="/ppt/charts/colors1104.xml" ContentType="application/vnd.ms-office.chartcolorstyle+xml"/>
  <Override PartName="/ppt/charts/colors1105.xml" ContentType="application/vnd.ms-office.chartcolorstyle+xml"/>
  <Override PartName="/ppt/charts/colors1106.xml" ContentType="application/vnd.ms-office.chartcolorstyle+xml"/>
  <Override PartName="/ppt/charts/colors1107.xml" ContentType="application/vnd.ms-office.chartcolorstyle+xml"/>
  <Override PartName="/ppt/charts/colors1108.xml" ContentType="application/vnd.ms-office.chartcolorstyle+xml"/>
  <Override PartName="/ppt/charts/colors1109.xml" ContentType="application/vnd.ms-office.chartcolorstyle+xml"/>
  <Override PartName="/ppt/charts/colors111.xml" ContentType="application/vnd.ms-office.chartcolorstyle+xml"/>
  <Override PartName="/ppt/charts/colors1110.xml" ContentType="application/vnd.ms-office.chartcolorstyle+xml"/>
  <Override PartName="/ppt/charts/colors1111.xml" ContentType="application/vnd.ms-office.chartcolorstyle+xml"/>
  <Override PartName="/ppt/charts/colors1112.xml" ContentType="application/vnd.ms-office.chartcolorstyle+xml"/>
  <Override PartName="/ppt/charts/colors1113.xml" ContentType="application/vnd.ms-office.chartcolorstyle+xml"/>
  <Override PartName="/ppt/charts/colors1114.xml" ContentType="application/vnd.ms-office.chartcolorstyle+xml"/>
  <Override PartName="/ppt/charts/colors1115.xml" ContentType="application/vnd.ms-office.chartcolorstyle+xml"/>
  <Override PartName="/ppt/charts/colors1116.xml" ContentType="application/vnd.ms-office.chartcolorstyle+xml"/>
  <Override PartName="/ppt/charts/colors1117.xml" ContentType="application/vnd.ms-office.chartcolorstyle+xml"/>
  <Override PartName="/ppt/charts/colors1118.xml" ContentType="application/vnd.ms-office.chartcolorstyle+xml"/>
  <Override PartName="/ppt/charts/colors1119.xml" ContentType="application/vnd.ms-office.chartcolorstyle+xml"/>
  <Override PartName="/ppt/charts/colors112.xml" ContentType="application/vnd.ms-office.chartcolorstyle+xml"/>
  <Override PartName="/ppt/charts/colors1120.xml" ContentType="application/vnd.ms-office.chartcolorstyle+xml"/>
  <Override PartName="/ppt/charts/colors1121.xml" ContentType="application/vnd.ms-office.chartcolorstyle+xml"/>
  <Override PartName="/ppt/charts/colors1122.xml" ContentType="application/vnd.ms-office.chartcolorstyle+xml"/>
  <Override PartName="/ppt/charts/colors1123.xml" ContentType="application/vnd.ms-office.chartcolorstyle+xml"/>
  <Override PartName="/ppt/charts/colors1124.xml" ContentType="application/vnd.ms-office.chartcolorstyle+xml"/>
  <Override PartName="/ppt/charts/colors1125.xml" ContentType="application/vnd.ms-office.chartcolorstyle+xml"/>
  <Override PartName="/ppt/charts/colors1126.xml" ContentType="application/vnd.ms-office.chartcolorstyle+xml"/>
  <Override PartName="/ppt/charts/colors1127.xml" ContentType="application/vnd.ms-office.chartcolorstyle+xml"/>
  <Override PartName="/ppt/charts/colors1128.xml" ContentType="application/vnd.ms-office.chartcolorstyle+xml"/>
  <Override PartName="/ppt/charts/colors1129.xml" ContentType="application/vnd.ms-office.chartcolorstyle+xml"/>
  <Override PartName="/ppt/charts/colors113.xml" ContentType="application/vnd.ms-office.chartcolorstyle+xml"/>
  <Override PartName="/ppt/charts/colors1130.xml" ContentType="application/vnd.ms-office.chartcolorstyle+xml"/>
  <Override PartName="/ppt/charts/colors1131.xml" ContentType="application/vnd.ms-office.chartcolorstyle+xml"/>
  <Override PartName="/ppt/charts/colors1132.xml" ContentType="application/vnd.ms-office.chartcolorstyle+xml"/>
  <Override PartName="/ppt/charts/colors1133.xml" ContentType="application/vnd.ms-office.chartcolorstyle+xml"/>
  <Override PartName="/ppt/charts/colors1134.xml" ContentType="application/vnd.ms-office.chartcolorstyle+xml"/>
  <Override PartName="/ppt/charts/colors1135.xml" ContentType="application/vnd.ms-office.chartcolorstyle+xml"/>
  <Override PartName="/ppt/charts/colors1136.xml" ContentType="application/vnd.ms-office.chartcolorstyle+xml"/>
  <Override PartName="/ppt/charts/colors1137.xml" ContentType="application/vnd.ms-office.chartcolorstyle+xml"/>
  <Override PartName="/ppt/charts/colors1138.xml" ContentType="application/vnd.ms-office.chartcolorstyle+xml"/>
  <Override PartName="/ppt/charts/colors1139.xml" ContentType="application/vnd.ms-office.chartcolorstyle+xml"/>
  <Override PartName="/ppt/charts/colors114.xml" ContentType="application/vnd.ms-office.chartcolorstyle+xml"/>
  <Override PartName="/ppt/charts/colors1140.xml" ContentType="application/vnd.ms-office.chartcolorstyle+xml"/>
  <Override PartName="/ppt/charts/colors1141.xml" ContentType="application/vnd.ms-office.chartcolorstyle+xml"/>
  <Override PartName="/ppt/charts/colors1142.xml" ContentType="application/vnd.ms-office.chartcolorstyle+xml"/>
  <Override PartName="/ppt/charts/colors1143.xml" ContentType="application/vnd.ms-office.chartcolorstyle+xml"/>
  <Override PartName="/ppt/charts/colors1144.xml" ContentType="application/vnd.ms-office.chartcolorstyle+xml"/>
  <Override PartName="/ppt/charts/colors1145.xml" ContentType="application/vnd.ms-office.chartcolorstyle+xml"/>
  <Override PartName="/ppt/charts/colors1146.xml" ContentType="application/vnd.ms-office.chartcolorstyle+xml"/>
  <Override PartName="/ppt/charts/colors1147.xml" ContentType="application/vnd.ms-office.chartcolorstyle+xml"/>
  <Override PartName="/ppt/charts/colors1148.xml" ContentType="application/vnd.ms-office.chartcolorstyle+xml"/>
  <Override PartName="/ppt/charts/colors1149.xml" ContentType="application/vnd.ms-office.chartcolorstyle+xml"/>
  <Override PartName="/ppt/charts/colors115.xml" ContentType="application/vnd.ms-office.chartcolorstyle+xml"/>
  <Override PartName="/ppt/charts/colors1150.xml" ContentType="application/vnd.ms-office.chartcolorstyle+xml"/>
  <Override PartName="/ppt/charts/colors1151.xml" ContentType="application/vnd.ms-office.chartcolorstyle+xml"/>
  <Override PartName="/ppt/charts/colors1152.xml" ContentType="application/vnd.ms-office.chartcolorstyle+xml"/>
  <Override PartName="/ppt/charts/colors1153.xml" ContentType="application/vnd.ms-office.chartcolorstyle+xml"/>
  <Override PartName="/ppt/charts/colors1154.xml" ContentType="application/vnd.ms-office.chartcolorstyle+xml"/>
  <Override PartName="/ppt/charts/colors1155.xml" ContentType="application/vnd.ms-office.chartcolorstyle+xml"/>
  <Override PartName="/ppt/charts/colors1156.xml" ContentType="application/vnd.ms-office.chartcolorstyle+xml"/>
  <Override PartName="/ppt/charts/colors1157.xml" ContentType="application/vnd.ms-office.chartcolorstyle+xml"/>
  <Override PartName="/ppt/charts/colors1158.xml" ContentType="application/vnd.ms-office.chartcolorstyle+xml"/>
  <Override PartName="/ppt/charts/colors1159.xml" ContentType="application/vnd.ms-office.chartcolorstyle+xml"/>
  <Override PartName="/ppt/charts/colors116.xml" ContentType="application/vnd.ms-office.chartcolorstyle+xml"/>
  <Override PartName="/ppt/charts/colors1160.xml" ContentType="application/vnd.ms-office.chartcolorstyle+xml"/>
  <Override PartName="/ppt/charts/colors1161.xml" ContentType="application/vnd.ms-office.chartcolorstyle+xml"/>
  <Override PartName="/ppt/charts/colors1162.xml" ContentType="application/vnd.ms-office.chartcolorstyle+xml"/>
  <Override PartName="/ppt/charts/colors1163.xml" ContentType="application/vnd.ms-office.chartcolorstyle+xml"/>
  <Override PartName="/ppt/charts/colors1164.xml" ContentType="application/vnd.ms-office.chartcolorstyle+xml"/>
  <Override PartName="/ppt/charts/colors1165.xml" ContentType="application/vnd.ms-office.chartcolorstyle+xml"/>
  <Override PartName="/ppt/charts/colors1166.xml" ContentType="application/vnd.ms-office.chartcolorstyle+xml"/>
  <Override PartName="/ppt/charts/colors1167.xml" ContentType="application/vnd.ms-office.chartcolorstyle+xml"/>
  <Override PartName="/ppt/charts/colors1168.xml" ContentType="application/vnd.ms-office.chartcolorstyle+xml"/>
  <Override PartName="/ppt/charts/colors1169.xml" ContentType="application/vnd.ms-office.chartcolorstyle+xml"/>
  <Override PartName="/ppt/charts/colors117.xml" ContentType="application/vnd.ms-office.chartcolorstyle+xml"/>
  <Override PartName="/ppt/charts/colors1170.xml" ContentType="application/vnd.ms-office.chartcolorstyle+xml"/>
  <Override PartName="/ppt/charts/colors1171.xml" ContentType="application/vnd.ms-office.chartcolorstyle+xml"/>
  <Override PartName="/ppt/charts/colors1172.xml" ContentType="application/vnd.ms-office.chartcolorstyle+xml"/>
  <Override PartName="/ppt/charts/colors1173.xml" ContentType="application/vnd.ms-office.chartcolorstyle+xml"/>
  <Override PartName="/ppt/charts/colors1174.xml" ContentType="application/vnd.ms-office.chartcolorstyle+xml"/>
  <Override PartName="/ppt/charts/colors1175.xml" ContentType="application/vnd.ms-office.chartcolorstyle+xml"/>
  <Override PartName="/ppt/charts/colors1176.xml" ContentType="application/vnd.ms-office.chartcolorstyle+xml"/>
  <Override PartName="/ppt/charts/colors1177.xml" ContentType="application/vnd.ms-office.chartcolorstyle+xml"/>
  <Override PartName="/ppt/charts/colors1178.xml" ContentType="application/vnd.ms-office.chartcolorstyle+xml"/>
  <Override PartName="/ppt/charts/colors1179.xml" ContentType="application/vnd.ms-office.chartcolorstyle+xml"/>
  <Override PartName="/ppt/charts/colors118.xml" ContentType="application/vnd.ms-office.chartcolorstyle+xml"/>
  <Override PartName="/ppt/charts/colors1180.xml" ContentType="application/vnd.ms-office.chartcolorstyle+xml"/>
  <Override PartName="/ppt/charts/colors1181.xml" ContentType="application/vnd.ms-office.chartcolorstyle+xml"/>
  <Override PartName="/ppt/charts/colors1182.xml" ContentType="application/vnd.ms-office.chartcolorstyle+xml"/>
  <Override PartName="/ppt/charts/colors1183.xml" ContentType="application/vnd.ms-office.chartcolorstyle+xml"/>
  <Override PartName="/ppt/charts/colors1184.xml" ContentType="application/vnd.ms-office.chartcolorstyle+xml"/>
  <Override PartName="/ppt/charts/colors1185.xml" ContentType="application/vnd.ms-office.chartcolorstyle+xml"/>
  <Override PartName="/ppt/charts/colors1186.xml" ContentType="application/vnd.ms-office.chartcolorstyle+xml"/>
  <Override PartName="/ppt/charts/colors1187.xml" ContentType="application/vnd.ms-office.chartcolorstyle+xml"/>
  <Override PartName="/ppt/charts/colors1188.xml" ContentType="application/vnd.ms-office.chartcolorstyle+xml"/>
  <Override PartName="/ppt/charts/colors1189.xml" ContentType="application/vnd.ms-office.chartcolorstyle+xml"/>
  <Override PartName="/ppt/charts/colors119.xml" ContentType="application/vnd.ms-office.chartcolorstyle+xml"/>
  <Override PartName="/ppt/charts/colors1190.xml" ContentType="application/vnd.ms-office.chartcolorstyle+xml"/>
  <Override PartName="/ppt/charts/colors1191.xml" ContentType="application/vnd.ms-office.chartcolorstyle+xml"/>
  <Override PartName="/ppt/charts/colors1192.xml" ContentType="application/vnd.ms-office.chartcolorstyle+xml"/>
  <Override PartName="/ppt/charts/colors1193.xml" ContentType="application/vnd.ms-office.chartcolorstyle+xml"/>
  <Override PartName="/ppt/charts/colors1194.xml" ContentType="application/vnd.ms-office.chartcolorstyle+xml"/>
  <Override PartName="/ppt/charts/colors1195.xml" ContentType="application/vnd.ms-office.chartcolorstyle+xml"/>
  <Override PartName="/ppt/charts/colors1196.xml" ContentType="application/vnd.ms-office.chartcolorstyle+xml"/>
  <Override PartName="/ppt/charts/colors1197.xml" ContentType="application/vnd.ms-office.chartcolorstyle+xml"/>
  <Override PartName="/ppt/charts/colors1198.xml" ContentType="application/vnd.ms-office.chartcolorstyle+xml"/>
  <Override PartName="/ppt/charts/colors1199.xml" ContentType="application/vnd.ms-office.chartcolorstyle+xml"/>
  <Override PartName="/ppt/charts/colors12.xml" ContentType="application/vnd.ms-office.chartcolorstyle+xml"/>
  <Override PartName="/ppt/charts/colors120.xml" ContentType="application/vnd.ms-office.chartcolorstyle+xml"/>
  <Override PartName="/ppt/charts/colors1200.xml" ContentType="application/vnd.ms-office.chartcolorstyle+xml"/>
  <Override PartName="/ppt/charts/colors1201.xml" ContentType="application/vnd.ms-office.chartcolorstyle+xml"/>
  <Override PartName="/ppt/charts/colors1202.xml" ContentType="application/vnd.ms-office.chartcolorstyle+xml"/>
  <Override PartName="/ppt/charts/colors1203.xml" ContentType="application/vnd.ms-office.chartcolorstyle+xml"/>
  <Override PartName="/ppt/charts/colors1204.xml" ContentType="application/vnd.ms-office.chartcolorstyle+xml"/>
  <Override PartName="/ppt/charts/colors1205.xml" ContentType="application/vnd.ms-office.chartcolorstyle+xml"/>
  <Override PartName="/ppt/charts/colors1206.xml" ContentType="application/vnd.ms-office.chartcolorstyle+xml"/>
  <Override PartName="/ppt/charts/colors1207.xml" ContentType="application/vnd.ms-office.chartcolorstyle+xml"/>
  <Override PartName="/ppt/charts/colors1208.xml" ContentType="application/vnd.ms-office.chartcolorstyle+xml"/>
  <Override PartName="/ppt/charts/colors1209.xml" ContentType="application/vnd.ms-office.chartcolorstyle+xml"/>
  <Override PartName="/ppt/charts/colors121.xml" ContentType="application/vnd.ms-office.chartcolorstyle+xml"/>
  <Override PartName="/ppt/charts/colors1210.xml" ContentType="application/vnd.ms-office.chartcolorstyle+xml"/>
  <Override PartName="/ppt/charts/colors1211.xml" ContentType="application/vnd.ms-office.chartcolorstyle+xml"/>
  <Override PartName="/ppt/charts/colors1212.xml" ContentType="application/vnd.ms-office.chartcolorstyle+xml"/>
  <Override PartName="/ppt/charts/colors1213.xml" ContentType="application/vnd.ms-office.chartcolorstyle+xml"/>
  <Override PartName="/ppt/charts/colors1214.xml" ContentType="application/vnd.ms-office.chartcolorstyle+xml"/>
  <Override PartName="/ppt/charts/colors1215.xml" ContentType="application/vnd.ms-office.chartcolorstyle+xml"/>
  <Override PartName="/ppt/charts/colors1216.xml" ContentType="application/vnd.ms-office.chartcolorstyle+xml"/>
  <Override PartName="/ppt/charts/colors1217.xml" ContentType="application/vnd.ms-office.chartcolorstyle+xml"/>
  <Override PartName="/ppt/charts/colors1218.xml" ContentType="application/vnd.ms-office.chartcolorstyle+xml"/>
  <Override PartName="/ppt/charts/colors1219.xml" ContentType="application/vnd.ms-office.chartcolorstyle+xml"/>
  <Override PartName="/ppt/charts/colors122.xml" ContentType="application/vnd.ms-office.chartcolorstyle+xml"/>
  <Override PartName="/ppt/charts/colors1220.xml" ContentType="application/vnd.ms-office.chartcolorstyle+xml"/>
  <Override PartName="/ppt/charts/colors1221.xml" ContentType="application/vnd.ms-office.chartcolorstyle+xml"/>
  <Override PartName="/ppt/charts/colors1222.xml" ContentType="application/vnd.ms-office.chartcolorstyle+xml"/>
  <Override PartName="/ppt/charts/colors1223.xml" ContentType="application/vnd.ms-office.chartcolorstyle+xml"/>
  <Override PartName="/ppt/charts/colors1224.xml" ContentType="application/vnd.ms-office.chartcolorstyle+xml"/>
  <Override PartName="/ppt/charts/colors1225.xml" ContentType="application/vnd.ms-office.chartcolorstyle+xml"/>
  <Override PartName="/ppt/charts/colors1226.xml" ContentType="application/vnd.ms-office.chartcolorstyle+xml"/>
  <Override PartName="/ppt/charts/colors1227.xml" ContentType="application/vnd.ms-office.chartcolorstyle+xml"/>
  <Override PartName="/ppt/charts/colors1228.xml" ContentType="application/vnd.ms-office.chartcolorstyle+xml"/>
  <Override PartName="/ppt/charts/colors1229.xml" ContentType="application/vnd.ms-office.chartcolorstyle+xml"/>
  <Override PartName="/ppt/charts/colors123.xml" ContentType="application/vnd.ms-office.chartcolorstyle+xml"/>
  <Override PartName="/ppt/charts/colors1230.xml" ContentType="application/vnd.ms-office.chartcolorstyle+xml"/>
  <Override PartName="/ppt/charts/colors1231.xml" ContentType="application/vnd.ms-office.chartcolorstyle+xml"/>
  <Override PartName="/ppt/charts/colors1232.xml" ContentType="application/vnd.ms-office.chartcolorstyle+xml"/>
  <Override PartName="/ppt/charts/colors1233.xml" ContentType="application/vnd.ms-office.chartcolorstyle+xml"/>
  <Override PartName="/ppt/charts/colors1234.xml" ContentType="application/vnd.ms-office.chartcolorstyle+xml"/>
  <Override PartName="/ppt/charts/colors1235.xml" ContentType="application/vnd.ms-office.chartcolorstyle+xml"/>
  <Override PartName="/ppt/charts/colors1236.xml" ContentType="application/vnd.ms-office.chartcolorstyle+xml"/>
  <Override PartName="/ppt/charts/colors1237.xml" ContentType="application/vnd.ms-office.chartcolorstyle+xml"/>
  <Override PartName="/ppt/charts/colors1238.xml" ContentType="application/vnd.ms-office.chartcolorstyle+xml"/>
  <Override PartName="/ppt/charts/colors1239.xml" ContentType="application/vnd.ms-office.chartcolorstyle+xml"/>
  <Override PartName="/ppt/charts/colors124.xml" ContentType="application/vnd.ms-office.chartcolorstyle+xml"/>
  <Override PartName="/ppt/charts/colors1240.xml" ContentType="application/vnd.ms-office.chartcolorstyle+xml"/>
  <Override PartName="/ppt/charts/colors1241.xml" ContentType="application/vnd.ms-office.chartcolorstyle+xml"/>
  <Override PartName="/ppt/charts/colors1242.xml" ContentType="application/vnd.ms-office.chartcolorstyle+xml"/>
  <Override PartName="/ppt/charts/colors1243.xml" ContentType="application/vnd.ms-office.chartcolorstyle+xml"/>
  <Override PartName="/ppt/charts/colors1244.xml" ContentType="application/vnd.ms-office.chartcolorstyle+xml"/>
  <Override PartName="/ppt/charts/colors1245.xml" ContentType="application/vnd.ms-office.chartcolorstyle+xml"/>
  <Override PartName="/ppt/charts/colors1246.xml" ContentType="application/vnd.ms-office.chartcolorstyle+xml"/>
  <Override PartName="/ppt/charts/colors1247.xml" ContentType="application/vnd.ms-office.chartcolorstyle+xml"/>
  <Override PartName="/ppt/charts/colors1248.xml" ContentType="application/vnd.ms-office.chartcolorstyle+xml"/>
  <Override PartName="/ppt/charts/colors1249.xml" ContentType="application/vnd.ms-office.chartcolorstyle+xml"/>
  <Override PartName="/ppt/charts/colors125.xml" ContentType="application/vnd.ms-office.chartcolorstyle+xml"/>
  <Override PartName="/ppt/charts/colors1250.xml" ContentType="application/vnd.ms-office.chartcolorstyle+xml"/>
  <Override PartName="/ppt/charts/colors1251.xml" ContentType="application/vnd.ms-office.chartcolorstyle+xml"/>
  <Override PartName="/ppt/charts/colors1252.xml" ContentType="application/vnd.ms-office.chartcolorstyle+xml"/>
  <Override PartName="/ppt/charts/colors1253.xml" ContentType="application/vnd.ms-office.chartcolorstyle+xml"/>
  <Override PartName="/ppt/charts/colors1254.xml" ContentType="application/vnd.ms-office.chartcolorstyle+xml"/>
  <Override PartName="/ppt/charts/colors1255.xml" ContentType="application/vnd.ms-office.chartcolorstyle+xml"/>
  <Override PartName="/ppt/charts/colors1256.xml" ContentType="application/vnd.ms-office.chartcolorstyle+xml"/>
  <Override PartName="/ppt/charts/colors1257.xml" ContentType="application/vnd.ms-office.chartcolorstyle+xml"/>
  <Override PartName="/ppt/charts/colors1258.xml" ContentType="application/vnd.ms-office.chartcolorstyle+xml"/>
  <Override PartName="/ppt/charts/colors1259.xml" ContentType="application/vnd.ms-office.chartcolorstyle+xml"/>
  <Override PartName="/ppt/charts/colors126.xml" ContentType="application/vnd.ms-office.chartcolorstyle+xml"/>
  <Override PartName="/ppt/charts/colors1260.xml" ContentType="application/vnd.ms-office.chartcolorstyle+xml"/>
  <Override PartName="/ppt/charts/colors1261.xml" ContentType="application/vnd.ms-office.chartcolorstyle+xml"/>
  <Override PartName="/ppt/charts/colors1262.xml" ContentType="application/vnd.ms-office.chartcolorstyle+xml"/>
  <Override PartName="/ppt/charts/colors1263.xml" ContentType="application/vnd.ms-office.chartcolorstyle+xml"/>
  <Override PartName="/ppt/charts/colors1264.xml" ContentType="application/vnd.ms-office.chartcolorstyle+xml"/>
  <Override PartName="/ppt/charts/colors1265.xml" ContentType="application/vnd.ms-office.chartcolorstyle+xml"/>
  <Override PartName="/ppt/charts/colors1266.xml" ContentType="application/vnd.ms-office.chartcolorstyle+xml"/>
  <Override PartName="/ppt/charts/colors1267.xml" ContentType="application/vnd.ms-office.chartcolorstyle+xml"/>
  <Override PartName="/ppt/charts/colors1268.xml" ContentType="application/vnd.ms-office.chartcolorstyle+xml"/>
  <Override PartName="/ppt/charts/colors1269.xml" ContentType="application/vnd.ms-office.chartcolorstyle+xml"/>
  <Override PartName="/ppt/charts/colors127.xml" ContentType="application/vnd.ms-office.chartcolorstyle+xml"/>
  <Override PartName="/ppt/charts/colors1270.xml" ContentType="application/vnd.ms-office.chartcolorstyle+xml"/>
  <Override PartName="/ppt/charts/colors1271.xml" ContentType="application/vnd.ms-office.chartcolorstyle+xml"/>
  <Override PartName="/ppt/charts/colors1272.xml" ContentType="application/vnd.ms-office.chartcolorstyle+xml"/>
  <Override PartName="/ppt/charts/colors1273.xml" ContentType="application/vnd.ms-office.chartcolorstyle+xml"/>
  <Override PartName="/ppt/charts/colors1274.xml" ContentType="application/vnd.ms-office.chartcolorstyle+xml"/>
  <Override PartName="/ppt/charts/colors1275.xml" ContentType="application/vnd.ms-office.chartcolorstyle+xml"/>
  <Override PartName="/ppt/charts/colors1276.xml" ContentType="application/vnd.ms-office.chartcolorstyle+xml"/>
  <Override PartName="/ppt/charts/colors1277.xml" ContentType="application/vnd.ms-office.chartcolorstyle+xml"/>
  <Override PartName="/ppt/charts/colors1278.xml" ContentType="application/vnd.ms-office.chartcolorstyle+xml"/>
  <Override PartName="/ppt/charts/colors1279.xml" ContentType="application/vnd.ms-office.chartcolorstyle+xml"/>
  <Override PartName="/ppt/charts/colors128.xml" ContentType="application/vnd.ms-office.chartcolorstyle+xml"/>
  <Override PartName="/ppt/charts/colors1280.xml" ContentType="application/vnd.ms-office.chartcolorstyle+xml"/>
  <Override PartName="/ppt/charts/colors1281.xml" ContentType="application/vnd.ms-office.chartcolorstyle+xml"/>
  <Override PartName="/ppt/charts/colors1282.xml" ContentType="application/vnd.ms-office.chartcolorstyle+xml"/>
  <Override PartName="/ppt/charts/colors1283.xml" ContentType="application/vnd.ms-office.chartcolorstyle+xml"/>
  <Override PartName="/ppt/charts/colors1284.xml" ContentType="application/vnd.ms-office.chartcolorstyle+xml"/>
  <Override PartName="/ppt/charts/colors1285.xml" ContentType="application/vnd.ms-office.chartcolorstyle+xml"/>
  <Override PartName="/ppt/charts/colors1286.xml" ContentType="application/vnd.ms-office.chartcolorstyle+xml"/>
  <Override PartName="/ppt/charts/colors1287.xml" ContentType="application/vnd.ms-office.chartcolorstyle+xml"/>
  <Override PartName="/ppt/charts/colors1288.xml" ContentType="application/vnd.ms-office.chartcolorstyle+xml"/>
  <Override PartName="/ppt/charts/colors1289.xml" ContentType="application/vnd.ms-office.chartcolorstyle+xml"/>
  <Override PartName="/ppt/charts/colors129.xml" ContentType="application/vnd.ms-office.chartcolorstyle+xml"/>
  <Override PartName="/ppt/charts/colors1290.xml" ContentType="application/vnd.ms-office.chartcolorstyle+xml"/>
  <Override PartName="/ppt/charts/colors1291.xml" ContentType="application/vnd.ms-office.chartcolorstyle+xml"/>
  <Override PartName="/ppt/charts/colors1292.xml" ContentType="application/vnd.ms-office.chartcolorstyle+xml"/>
  <Override PartName="/ppt/charts/colors1293.xml" ContentType="application/vnd.ms-office.chartcolorstyle+xml"/>
  <Override PartName="/ppt/charts/colors1294.xml" ContentType="application/vnd.ms-office.chartcolorstyle+xml"/>
  <Override PartName="/ppt/charts/colors1295.xml" ContentType="application/vnd.ms-office.chartcolorstyle+xml"/>
  <Override PartName="/ppt/charts/colors1296.xml" ContentType="application/vnd.ms-office.chartcolorstyle+xml"/>
  <Override PartName="/ppt/charts/colors1297.xml" ContentType="application/vnd.ms-office.chartcolorstyle+xml"/>
  <Override PartName="/ppt/charts/colors1298.xml" ContentType="application/vnd.ms-office.chartcolorstyle+xml"/>
  <Override PartName="/ppt/charts/colors1299.xml" ContentType="application/vnd.ms-office.chartcolorstyle+xml"/>
  <Override PartName="/ppt/charts/colors13.xml" ContentType="application/vnd.ms-office.chartcolorstyle+xml"/>
  <Override PartName="/ppt/charts/colors130.xml" ContentType="application/vnd.ms-office.chartcolorstyle+xml"/>
  <Override PartName="/ppt/charts/colors1300.xml" ContentType="application/vnd.ms-office.chartcolorstyle+xml"/>
  <Override PartName="/ppt/charts/colors1301.xml" ContentType="application/vnd.ms-office.chartcolorstyle+xml"/>
  <Override PartName="/ppt/charts/colors1302.xml" ContentType="application/vnd.ms-office.chartcolorstyle+xml"/>
  <Override PartName="/ppt/charts/colors1303.xml" ContentType="application/vnd.ms-office.chartcolorstyle+xml"/>
  <Override PartName="/ppt/charts/colors1304.xml" ContentType="application/vnd.ms-office.chartcolorstyle+xml"/>
  <Override PartName="/ppt/charts/colors1305.xml" ContentType="application/vnd.ms-office.chartcolorstyle+xml"/>
  <Override PartName="/ppt/charts/colors1306.xml" ContentType="application/vnd.ms-office.chartcolorstyle+xml"/>
  <Override PartName="/ppt/charts/colors1307.xml" ContentType="application/vnd.ms-office.chartcolorstyle+xml"/>
  <Override PartName="/ppt/charts/colors1308.xml" ContentType="application/vnd.ms-office.chartcolorstyle+xml"/>
  <Override PartName="/ppt/charts/colors1309.xml" ContentType="application/vnd.ms-office.chartcolorstyle+xml"/>
  <Override PartName="/ppt/charts/colors131.xml" ContentType="application/vnd.ms-office.chartcolorstyle+xml"/>
  <Override PartName="/ppt/charts/colors1310.xml" ContentType="application/vnd.ms-office.chartcolorstyle+xml"/>
  <Override PartName="/ppt/charts/colors1311.xml" ContentType="application/vnd.ms-office.chartcolorstyle+xml"/>
  <Override PartName="/ppt/charts/colors1312.xml" ContentType="application/vnd.ms-office.chartcolorstyle+xml"/>
  <Override PartName="/ppt/charts/colors1313.xml" ContentType="application/vnd.ms-office.chartcolorstyle+xml"/>
  <Override PartName="/ppt/charts/colors1314.xml" ContentType="application/vnd.ms-office.chartcolorstyle+xml"/>
  <Override PartName="/ppt/charts/colors1315.xml" ContentType="application/vnd.ms-office.chartcolorstyle+xml"/>
  <Override PartName="/ppt/charts/colors1316.xml" ContentType="application/vnd.ms-office.chartcolorstyle+xml"/>
  <Override PartName="/ppt/charts/colors1317.xml" ContentType="application/vnd.ms-office.chartcolorstyle+xml"/>
  <Override PartName="/ppt/charts/colors1318.xml" ContentType="application/vnd.ms-office.chartcolorstyle+xml"/>
  <Override PartName="/ppt/charts/colors1319.xml" ContentType="application/vnd.ms-office.chartcolorstyle+xml"/>
  <Override PartName="/ppt/charts/colors132.xml" ContentType="application/vnd.ms-office.chartcolorstyle+xml"/>
  <Override PartName="/ppt/charts/colors1320.xml" ContentType="application/vnd.ms-office.chartcolorstyle+xml"/>
  <Override PartName="/ppt/charts/colors1321.xml" ContentType="application/vnd.ms-office.chartcolorstyle+xml"/>
  <Override PartName="/ppt/charts/colors1322.xml" ContentType="application/vnd.ms-office.chartcolorstyle+xml"/>
  <Override PartName="/ppt/charts/colors1323.xml" ContentType="application/vnd.ms-office.chartcolorstyle+xml"/>
  <Override PartName="/ppt/charts/colors1324.xml" ContentType="application/vnd.ms-office.chartcolorstyle+xml"/>
  <Override PartName="/ppt/charts/colors1325.xml" ContentType="application/vnd.ms-office.chartcolorstyle+xml"/>
  <Override PartName="/ppt/charts/colors1326.xml" ContentType="application/vnd.ms-office.chartcolorstyle+xml"/>
  <Override PartName="/ppt/charts/colors1327.xml" ContentType="application/vnd.ms-office.chartcolorstyle+xml"/>
  <Override PartName="/ppt/charts/colors1328.xml" ContentType="application/vnd.ms-office.chartcolorstyle+xml"/>
  <Override PartName="/ppt/charts/colors1329.xml" ContentType="application/vnd.ms-office.chartcolorstyle+xml"/>
  <Override PartName="/ppt/charts/colors133.xml" ContentType="application/vnd.ms-office.chartcolorstyle+xml"/>
  <Override PartName="/ppt/charts/colors1330.xml" ContentType="application/vnd.ms-office.chartcolorstyle+xml"/>
  <Override PartName="/ppt/charts/colors1331.xml" ContentType="application/vnd.ms-office.chartcolorstyle+xml"/>
  <Override PartName="/ppt/charts/colors1332.xml" ContentType="application/vnd.ms-office.chartcolorstyle+xml"/>
  <Override PartName="/ppt/charts/colors1333.xml" ContentType="application/vnd.ms-office.chartcolorstyle+xml"/>
  <Override PartName="/ppt/charts/colors1334.xml" ContentType="application/vnd.ms-office.chartcolorstyle+xml"/>
  <Override PartName="/ppt/charts/colors1335.xml" ContentType="application/vnd.ms-office.chartcolorstyle+xml"/>
  <Override PartName="/ppt/charts/colors1336.xml" ContentType="application/vnd.ms-office.chartcolorstyle+xml"/>
  <Override PartName="/ppt/charts/colors1337.xml" ContentType="application/vnd.ms-office.chartcolorstyle+xml"/>
  <Override PartName="/ppt/charts/colors1338.xml" ContentType="application/vnd.ms-office.chartcolorstyle+xml"/>
  <Override PartName="/ppt/charts/colors1339.xml" ContentType="application/vnd.ms-office.chartcolorstyle+xml"/>
  <Override PartName="/ppt/charts/colors134.xml" ContentType="application/vnd.ms-office.chartcolorstyle+xml"/>
  <Override PartName="/ppt/charts/colors1340.xml" ContentType="application/vnd.ms-office.chartcolorstyle+xml"/>
  <Override PartName="/ppt/charts/colors1341.xml" ContentType="application/vnd.ms-office.chartcolorstyle+xml"/>
  <Override PartName="/ppt/charts/colors1342.xml" ContentType="application/vnd.ms-office.chartcolorstyle+xml"/>
  <Override PartName="/ppt/charts/colors1343.xml" ContentType="application/vnd.ms-office.chartcolorstyle+xml"/>
  <Override PartName="/ppt/charts/colors1344.xml" ContentType="application/vnd.ms-office.chartcolorstyle+xml"/>
  <Override PartName="/ppt/charts/colors1345.xml" ContentType="application/vnd.ms-office.chartcolorstyle+xml"/>
  <Override PartName="/ppt/charts/colors1346.xml" ContentType="application/vnd.ms-office.chartcolorstyle+xml"/>
  <Override PartName="/ppt/charts/colors1347.xml" ContentType="application/vnd.ms-office.chartcolorstyle+xml"/>
  <Override PartName="/ppt/charts/colors1348.xml" ContentType="application/vnd.ms-office.chartcolorstyle+xml"/>
  <Override PartName="/ppt/charts/colors1349.xml" ContentType="application/vnd.ms-office.chartcolorstyle+xml"/>
  <Override PartName="/ppt/charts/colors135.xml" ContentType="application/vnd.ms-office.chartcolorstyle+xml"/>
  <Override PartName="/ppt/charts/colors1350.xml" ContentType="application/vnd.ms-office.chartcolorstyle+xml"/>
  <Override PartName="/ppt/charts/colors1351.xml" ContentType="application/vnd.ms-office.chartcolorstyle+xml"/>
  <Override PartName="/ppt/charts/colors1352.xml" ContentType="application/vnd.ms-office.chartcolorstyle+xml"/>
  <Override PartName="/ppt/charts/colors1353.xml" ContentType="application/vnd.ms-office.chartcolorstyle+xml"/>
  <Override PartName="/ppt/charts/colors1354.xml" ContentType="application/vnd.ms-office.chartcolorstyle+xml"/>
  <Override PartName="/ppt/charts/colors1355.xml" ContentType="application/vnd.ms-office.chartcolorstyle+xml"/>
  <Override PartName="/ppt/charts/colors1356.xml" ContentType="application/vnd.ms-office.chartcolorstyle+xml"/>
  <Override PartName="/ppt/charts/colors1357.xml" ContentType="application/vnd.ms-office.chartcolorstyle+xml"/>
  <Override PartName="/ppt/charts/colors1358.xml" ContentType="application/vnd.ms-office.chartcolorstyle+xml"/>
  <Override PartName="/ppt/charts/colors1359.xml" ContentType="application/vnd.ms-office.chartcolorstyle+xml"/>
  <Override PartName="/ppt/charts/colors136.xml" ContentType="application/vnd.ms-office.chartcolorstyle+xml"/>
  <Override PartName="/ppt/charts/colors1360.xml" ContentType="application/vnd.ms-office.chartcolorstyle+xml"/>
  <Override PartName="/ppt/charts/colors1361.xml" ContentType="application/vnd.ms-office.chartcolorstyle+xml"/>
  <Override PartName="/ppt/charts/colors1362.xml" ContentType="application/vnd.ms-office.chartcolorstyle+xml"/>
  <Override PartName="/ppt/charts/colors1363.xml" ContentType="application/vnd.ms-office.chartcolorstyle+xml"/>
  <Override PartName="/ppt/charts/colors1364.xml" ContentType="application/vnd.ms-office.chartcolorstyle+xml"/>
  <Override PartName="/ppt/charts/colors1365.xml" ContentType="application/vnd.ms-office.chartcolorstyle+xml"/>
  <Override PartName="/ppt/charts/colors1366.xml" ContentType="application/vnd.ms-office.chartcolorstyle+xml"/>
  <Override PartName="/ppt/charts/colors1367.xml" ContentType="application/vnd.ms-office.chartcolorstyle+xml"/>
  <Override PartName="/ppt/charts/colors1368.xml" ContentType="application/vnd.ms-office.chartcolorstyle+xml"/>
  <Override PartName="/ppt/charts/colors1369.xml" ContentType="application/vnd.ms-office.chartcolorstyle+xml"/>
  <Override PartName="/ppt/charts/colors137.xml" ContentType="application/vnd.ms-office.chartcolorstyle+xml"/>
  <Override PartName="/ppt/charts/colors1370.xml" ContentType="application/vnd.ms-office.chartcolorstyle+xml"/>
  <Override PartName="/ppt/charts/colors1371.xml" ContentType="application/vnd.ms-office.chartcolorstyle+xml"/>
  <Override PartName="/ppt/charts/colors1372.xml" ContentType="application/vnd.ms-office.chartcolorstyle+xml"/>
  <Override PartName="/ppt/charts/colors1373.xml" ContentType="application/vnd.ms-office.chartcolorstyle+xml"/>
  <Override PartName="/ppt/charts/colors1374.xml" ContentType="application/vnd.ms-office.chartcolorstyle+xml"/>
  <Override PartName="/ppt/charts/colors1375.xml" ContentType="application/vnd.ms-office.chartcolorstyle+xml"/>
  <Override PartName="/ppt/charts/colors1376.xml" ContentType="application/vnd.ms-office.chartcolorstyle+xml"/>
  <Override PartName="/ppt/charts/colors1377.xml" ContentType="application/vnd.ms-office.chartcolorstyle+xml"/>
  <Override PartName="/ppt/charts/colors1378.xml" ContentType="application/vnd.ms-office.chartcolorstyle+xml"/>
  <Override PartName="/ppt/charts/colors1379.xml" ContentType="application/vnd.ms-office.chartcolorstyle+xml"/>
  <Override PartName="/ppt/charts/colors138.xml" ContentType="application/vnd.ms-office.chartcolorstyle+xml"/>
  <Override PartName="/ppt/charts/colors1380.xml" ContentType="application/vnd.ms-office.chartcolorstyle+xml"/>
  <Override PartName="/ppt/charts/colors1381.xml" ContentType="application/vnd.ms-office.chartcolorstyle+xml"/>
  <Override PartName="/ppt/charts/colors1382.xml" ContentType="application/vnd.ms-office.chartcolorstyle+xml"/>
  <Override PartName="/ppt/charts/colors1383.xml" ContentType="application/vnd.ms-office.chartcolorstyle+xml"/>
  <Override PartName="/ppt/charts/colors1384.xml" ContentType="application/vnd.ms-office.chartcolorstyle+xml"/>
  <Override PartName="/ppt/charts/colors1385.xml" ContentType="application/vnd.ms-office.chartcolorstyle+xml"/>
  <Override PartName="/ppt/charts/colors1386.xml" ContentType="application/vnd.ms-office.chartcolorstyle+xml"/>
  <Override PartName="/ppt/charts/colors1387.xml" ContentType="application/vnd.ms-office.chartcolorstyle+xml"/>
  <Override PartName="/ppt/charts/colors1388.xml" ContentType="application/vnd.ms-office.chartcolorstyle+xml"/>
  <Override PartName="/ppt/charts/colors1389.xml" ContentType="application/vnd.ms-office.chartcolorstyle+xml"/>
  <Override PartName="/ppt/charts/colors139.xml" ContentType="application/vnd.ms-office.chartcolorstyle+xml"/>
  <Override PartName="/ppt/charts/colors1390.xml" ContentType="application/vnd.ms-office.chartcolorstyle+xml"/>
  <Override PartName="/ppt/charts/colors1391.xml" ContentType="application/vnd.ms-office.chartcolorstyle+xml"/>
  <Override PartName="/ppt/charts/colors1392.xml" ContentType="application/vnd.ms-office.chartcolorstyle+xml"/>
  <Override PartName="/ppt/charts/colors1393.xml" ContentType="application/vnd.ms-office.chartcolorstyle+xml"/>
  <Override PartName="/ppt/charts/colors1394.xml" ContentType="application/vnd.ms-office.chartcolorstyle+xml"/>
  <Override PartName="/ppt/charts/colors1395.xml" ContentType="application/vnd.ms-office.chartcolorstyle+xml"/>
  <Override PartName="/ppt/charts/colors1396.xml" ContentType="application/vnd.ms-office.chartcolorstyle+xml"/>
  <Override PartName="/ppt/charts/colors1397.xml" ContentType="application/vnd.ms-office.chartcolorstyle+xml"/>
  <Override PartName="/ppt/charts/colors1398.xml" ContentType="application/vnd.ms-office.chartcolorstyle+xml"/>
  <Override PartName="/ppt/charts/colors1399.xml" ContentType="application/vnd.ms-office.chartcolorstyle+xml"/>
  <Override PartName="/ppt/charts/colors14.xml" ContentType="application/vnd.ms-office.chartcolorstyle+xml"/>
  <Override PartName="/ppt/charts/colors140.xml" ContentType="application/vnd.ms-office.chartcolorstyle+xml"/>
  <Override PartName="/ppt/charts/colors1400.xml" ContentType="application/vnd.ms-office.chartcolorstyle+xml"/>
  <Override PartName="/ppt/charts/colors1401.xml" ContentType="application/vnd.ms-office.chartcolorstyle+xml"/>
  <Override PartName="/ppt/charts/colors1402.xml" ContentType="application/vnd.ms-office.chartcolorstyle+xml"/>
  <Override PartName="/ppt/charts/colors1403.xml" ContentType="application/vnd.ms-office.chartcolorstyle+xml"/>
  <Override PartName="/ppt/charts/colors1404.xml" ContentType="application/vnd.ms-office.chartcolorstyle+xml"/>
  <Override PartName="/ppt/charts/colors1405.xml" ContentType="application/vnd.ms-office.chartcolorstyle+xml"/>
  <Override PartName="/ppt/charts/colors1406.xml" ContentType="application/vnd.ms-office.chartcolorstyle+xml"/>
  <Override PartName="/ppt/charts/colors1407.xml" ContentType="application/vnd.ms-office.chartcolorstyle+xml"/>
  <Override PartName="/ppt/charts/colors1408.xml" ContentType="application/vnd.ms-office.chartcolorstyle+xml"/>
  <Override PartName="/ppt/charts/colors1409.xml" ContentType="application/vnd.ms-office.chartcolorstyle+xml"/>
  <Override PartName="/ppt/charts/colors141.xml" ContentType="application/vnd.ms-office.chartcolorstyle+xml"/>
  <Override PartName="/ppt/charts/colors1410.xml" ContentType="application/vnd.ms-office.chartcolorstyle+xml"/>
  <Override PartName="/ppt/charts/colors1411.xml" ContentType="application/vnd.ms-office.chartcolorstyle+xml"/>
  <Override PartName="/ppt/charts/colors1412.xml" ContentType="application/vnd.ms-office.chartcolorstyle+xml"/>
  <Override PartName="/ppt/charts/colors1413.xml" ContentType="application/vnd.ms-office.chartcolorstyle+xml"/>
  <Override PartName="/ppt/charts/colors1414.xml" ContentType="application/vnd.ms-office.chartcolorstyle+xml"/>
  <Override PartName="/ppt/charts/colors1415.xml" ContentType="application/vnd.ms-office.chartcolorstyle+xml"/>
  <Override PartName="/ppt/charts/colors1416.xml" ContentType="application/vnd.ms-office.chartcolorstyle+xml"/>
  <Override PartName="/ppt/charts/colors1417.xml" ContentType="application/vnd.ms-office.chartcolorstyle+xml"/>
  <Override PartName="/ppt/charts/colors1418.xml" ContentType="application/vnd.ms-office.chartcolorstyle+xml"/>
  <Override PartName="/ppt/charts/colors1419.xml" ContentType="application/vnd.ms-office.chartcolorstyle+xml"/>
  <Override PartName="/ppt/charts/colors142.xml" ContentType="application/vnd.ms-office.chartcolorstyle+xml"/>
  <Override PartName="/ppt/charts/colors1420.xml" ContentType="application/vnd.ms-office.chartcolorstyle+xml"/>
  <Override PartName="/ppt/charts/colors1421.xml" ContentType="application/vnd.ms-office.chartcolorstyle+xml"/>
  <Override PartName="/ppt/charts/colors1422.xml" ContentType="application/vnd.ms-office.chartcolorstyle+xml"/>
  <Override PartName="/ppt/charts/colors1423.xml" ContentType="application/vnd.ms-office.chartcolorstyle+xml"/>
  <Override PartName="/ppt/charts/colors1424.xml" ContentType="application/vnd.ms-office.chartcolorstyle+xml"/>
  <Override PartName="/ppt/charts/colors1425.xml" ContentType="application/vnd.ms-office.chartcolorstyle+xml"/>
  <Override PartName="/ppt/charts/colors1426.xml" ContentType="application/vnd.ms-office.chartcolorstyle+xml"/>
  <Override PartName="/ppt/charts/colors1427.xml" ContentType="application/vnd.ms-office.chartcolorstyle+xml"/>
  <Override PartName="/ppt/charts/colors1428.xml" ContentType="application/vnd.ms-office.chartcolorstyle+xml"/>
  <Override PartName="/ppt/charts/colors1429.xml" ContentType="application/vnd.ms-office.chartcolorstyle+xml"/>
  <Override PartName="/ppt/charts/colors143.xml" ContentType="application/vnd.ms-office.chartcolorstyle+xml"/>
  <Override PartName="/ppt/charts/colors1430.xml" ContentType="application/vnd.ms-office.chartcolorstyle+xml"/>
  <Override PartName="/ppt/charts/colors1431.xml" ContentType="application/vnd.ms-office.chartcolorstyle+xml"/>
  <Override PartName="/ppt/charts/colors1432.xml" ContentType="application/vnd.ms-office.chartcolorstyle+xml"/>
  <Override PartName="/ppt/charts/colors1433.xml" ContentType="application/vnd.ms-office.chartcolorstyle+xml"/>
  <Override PartName="/ppt/charts/colors1434.xml" ContentType="application/vnd.ms-office.chartcolorstyle+xml"/>
  <Override PartName="/ppt/charts/colors1435.xml" ContentType="application/vnd.ms-office.chartcolorstyle+xml"/>
  <Override PartName="/ppt/charts/colors1436.xml" ContentType="application/vnd.ms-office.chartcolorstyle+xml"/>
  <Override PartName="/ppt/charts/colors1437.xml" ContentType="application/vnd.ms-office.chartcolorstyle+xml"/>
  <Override PartName="/ppt/charts/colors1438.xml" ContentType="application/vnd.ms-office.chartcolorstyle+xml"/>
  <Override PartName="/ppt/charts/colors1439.xml" ContentType="application/vnd.ms-office.chartcolorstyle+xml"/>
  <Override PartName="/ppt/charts/colors144.xml" ContentType="application/vnd.ms-office.chartcolorstyle+xml"/>
  <Override PartName="/ppt/charts/colors1440.xml" ContentType="application/vnd.ms-office.chartcolorstyle+xml"/>
  <Override PartName="/ppt/charts/colors1441.xml" ContentType="application/vnd.ms-office.chartcolorstyle+xml"/>
  <Override PartName="/ppt/charts/colors1442.xml" ContentType="application/vnd.ms-office.chartcolorstyle+xml"/>
  <Override PartName="/ppt/charts/colors1443.xml" ContentType="application/vnd.ms-office.chartcolorstyle+xml"/>
  <Override PartName="/ppt/charts/colors1444.xml" ContentType="application/vnd.ms-office.chartcolorstyle+xml"/>
  <Override PartName="/ppt/charts/colors1445.xml" ContentType="application/vnd.ms-office.chartcolorstyle+xml"/>
  <Override PartName="/ppt/charts/colors1446.xml" ContentType="application/vnd.ms-office.chartcolorstyle+xml"/>
  <Override PartName="/ppt/charts/colors1447.xml" ContentType="application/vnd.ms-office.chartcolorstyle+xml"/>
  <Override PartName="/ppt/charts/colors1448.xml" ContentType="application/vnd.ms-office.chartcolorstyle+xml"/>
  <Override PartName="/ppt/charts/colors1449.xml" ContentType="application/vnd.ms-office.chartcolorstyle+xml"/>
  <Override PartName="/ppt/charts/colors145.xml" ContentType="application/vnd.ms-office.chartcolorstyle+xml"/>
  <Override PartName="/ppt/charts/colors1450.xml" ContentType="application/vnd.ms-office.chartcolorstyle+xml"/>
  <Override PartName="/ppt/charts/colors1451.xml" ContentType="application/vnd.ms-office.chartcolorstyle+xml"/>
  <Override PartName="/ppt/charts/colors1452.xml" ContentType="application/vnd.ms-office.chartcolorstyle+xml"/>
  <Override PartName="/ppt/charts/colors1453.xml" ContentType="application/vnd.ms-office.chartcolorstyle+xml"/>
  <Override PartName="/ppt/charts/colors1454.xml" ContentType="application/vnd.ms-office.chartcolorstyle+xml"/>
  <Override PartName="/ppt/charts/colors1455.xml" ContentType="application/vnd.ms-office.chartcolorstyle+xml"/>
  <Override PartName="/ppt/charts/colors1456.xml" ContentType="application/vnd.ms-office.chartcolorstyle+xml"/>
  <Override PartName="/ppt/charts/colors1457.xml" ContentType="application/vnd.ms-office.chartcolorstyle+xml"/>
  <Override PartName="/ppt/charts/colors1458.xml" ContentType="application/vnd.ms-office.chartcolorstyle+xml"/>
  <Override PartName="/ppt/charts/colors1459.xml" ContentType="application/vnd.ms-office.chartcolorstyle+xml"/>
  <Override PartName="/ppt/charts/colors146.xml" ContentType="application/vnd.ms-office.chartcolorstyle+xml"/>
  <Override PartName="/ppt/charts/colors1460.xml" ContentType="application/vnd.ms-office.chartcolorstyle+xml"/>
  <Override PartName="/ppt/charts/colors1461.xml" ContentType="application/vnd.ms-office.chartcolorstyle+xml"/>
  <Override PartName="/ppt/charts/colors1462.xml" ContentType="application/vnd.ms-office.chartcolorstyle+xml"/>
  <Override PartName="/ppt/charts/colors1463.xml" ContentType="application/vnd.ms-office.chartcolorstyle+xml"/>
  <Override PartName="/ppt/charts/colors1464.xml" ContentType="application/vnd.ms-office.chartcolorstyle+xml"/>
  <Override PartName="/ppt/charts/colors1465.xml" ContentType="application/vnd.ms-office.chartcolorstyle+xml"/>
  <Override PartName="/ppt/charts/colors1466.xml" ContentType="application/vnd.ms-office.chartcolorstyle+xml"/>
  <Override PartName="/ppt/charts/colors1467.xml" ContentType="application/vnd.ms-office.chartcolorstyle+xml"/>
  <Override PartName="/ppt/charts/colors1468.xml" ContentType="application/vnd.ms-office.chartcolorstyle+xml"/>
  <Override PartName="/ppt/charts/colors1469.xml" ContentType="application/vnd.ms-office.chartcolorstyle+xml"/>
  <Override PartName="/ppt/charts/colors147.xml" ContentType="application/vnd.ms-office.chartcolorstyle+xml"/>
  <Override PartName="/ppt/charts/colors1470.xml" ContentType="application/vnd.ms-office.chartcolorstyle+xml"/>
  <Override PartName="/ppt/charts/colors1471.xml" ContentType="application/vnd.ms-office.chartcolorstyle+xml"/>
  <Override PartName="/ppt/charts/colors1472.xml" ContentType="application/vnd.ms-office.chartcolorstyle+xml"/>
  <Override PartName="/ppt/charts/colors1473.xml" ContentType="application/vnd.ms-office.chartcolorstyle+xml"/>
  <Override PartName="/ppt/charts/colors1474.xml" ContentType="application/vnd.ms-office.chartcolorstyle+xml"/>
  <Override PartName="/ppt/charts/colors1475.xml" ContentType="application/vnd.ms-office.chartcolorstyle+xml"/>
  <Override PartName="/ppt/charts/colors1476.xml" ContentType="application/vnd.ms-office.chartcolorstyle+xml"/>
  <Override PartName="/ppt/charts/colors1477.xml" ContentType="application/vnd.ms-office.chartcolorstyle+xml"/>
  <Override PartName="/ppt/charts/colors1478.xml" ContentType="application/vnd.ms-office.chartcolorstyle+xml"/>
  <Override PartName="/ppt/charts/colors1479.xml" ContentType="application/vnd.ms-office.chartcolorstyle+xml"/>
  <Override PartName="/ppt/charts/colors148.xml" ContentType="application/vnd.ms-office.chartcolorstyle+xml"/>
  <Override PartName="/ppt/charts/colors1480.xml" ContentType="application/vnd.ms-office.chartcolorstyle+xml"/>
  <Override PartName="/ppt/charts/colors1481.xml" ContentType="application/vnd.ms-office.chartcolorstyle+xml"/>
  <Override PartName="/ppt/charts/colors1482.xml" ContentType="application/vnd.ms-office.chartcolorstyle+xml"/>
  <Override PartName="/ppt/charts/colors1483.xml" ContentType="application/vnd.ms-office.chartcolorstyle+xml"/>
  <Override PartName="/ppt/charts/colors1484.xml" ContentType="application/vnd.ms-office.chartcolorstyle+xml"/>
  <Override PartName="/ppt/charts/colors1485.xml" ContentType="application/vnd.ms-office.chartcolorstyle+xml"/>
  <Override PartName="/ppt/charts/colors1486.xml" ContentType="application/vnd.ms-office.chartcolorstyle+xml"/>
  <Override PartName="/ppt/charts/colors1487.xml" ContentType="application/vnd.ms-office.chartcolorstyle+xml"/>
  <Override PartName="/ppt/charts/colors1488.xml" ContentType="application/vnd.ms-office.chartcolorstyle+xml"/>
  <Override PartName="/ppt/charts/colors1489.xml" ContentType="application/vnd.ms-office.chartcolorstyle+xml"/>
  <Override PartName="/ppt/charts/colors149.xml" ContentType="application/vnd.ms-office.chartcolorstyle+xml"/>
  <Override PartName="/ppt/charts/colors1490.xml" ContentType="application/vnd.ms-office.chartcolorstyle+xml"/>
  <Override PartName="/ppt/charts/colors1491.xml" ContentType="application/vnd.ms-office.chartcolorstyle+xml"/>
  <Override PartName="/ppt/charts/colors1492.xml" ContentType="application/vnd.ms-office.chartcolorstyle+xml"/>
  <Override PartName="/ppt/charts/colors1493.xml" ContentType="application/vnd.ms-office.chartcolorstyle+xml"/>
  <Override PartName="/ppt/charts/colors1494.xml" ContentType="application/vnd.ms-office.chartcolorstyle+xml"/>
  <Override PartName="/ppt/charts/colors1495.xml" ContentType="application/vnd.ms-office.chartcolorstyle+xml"/>
  <Override PartName="/ppt/charts/colors1496.xml" ContentType="application/vnd.ms-office.chartcolorstyle+xml"/>
  <Override PartName="/ppt/charts/colors1497.xml" ContentType="application/vnd.ms-office.chartcolorstyle+xml"/>
  <Override PartName="/ppt/charts/colors1498.xml" ContentType="application/vnd.ms-office.chartcolorstyle+xml"/>
  <Override PartName="/ppt/charts/colors1499.xml" ContentType="application/vnd.ms-office.chartcolorstyle+xml"/>
  <Override PartName="/ppt/charts/colors15.xml" ContentType="application/vnd.ms-office.chartcolorstyle+xml"/>
  <Override PartName="/ppt/charts/colors150.xml" ContentType="application/vnd.ms-office.chartcolorstyle+xml"/>
  <Override PartName="/ppt/charts/colors1500.xml" ContentType="application/vnd.ms-office.chartcolorstyle+xml"/>
  <Override PartName="/ppt/charts/colors1501.xml" ContentType="application/vnd.ms-office.chartcolorstyle+xml"/>
  <Override PartName="/ppt/charts/colors1502.xml" ContentType="application/vnd.ms-office.chartcolorstyle+xml"/>
  <Override PartName="/ppt/charts/colors1503.xml" ContentType="application/vnd.ms-office.chartcolorstyle+xml"/>
  <Override PartName="/ppt/charts/colors1504.xml" ContentType="application/vnd.ms-office.chartcolorstyle+xml"/>
  <Override PartName="/ppt/charts/colors1505.xml" ContentType="application/vnd.ms-office.chartcolorstyle+xml"/>
  <Override PartName="/ppt/charts/colors1506.xml" ContentType="application/vnd.ms-office.chartcolorstyle+xml"/>
  <Override PartName="/ppt/charts/colors1507.xml" ContentType="application/vnd.ms-office.chartcolorstyle+xml"/>
  <Override PartName="/ppt/charts/colors1508.xml" ContentType="application/vnd.ms-office.chartcolorstyle+xml"/>
  <Override PartName="/ppt/charts/colors1509.xml" ContentType="application/vnd.ms-office.chartcolorstyle+xml"/>
  <Override PartName="/ppt/charts/colors151.xml" ContentType="application/vnd.ms-office.chartcolorstyle+xml"/>
  <Override PartName="/ppt/charts/colors1510.xml" ContentType="application/vnd.ms-office.chartcolorstyle+xml"/>
  <Override PartName="/ppt/charts/colors1511.xml" ContentType="application/vnd.ms-office.chartcolorstyle+xml"/>
  <Override PartName="/ppt/charts/colors1512.xml" ContentType="application/vnd.ms-office.chartcolorstyle+xml"/>
  <Override PartName="/ppt/charts/colors1513.xml" ContentType="application/vnd.ms-office.chartcolorstyle+xml"/>
  <Override PartName="/ppt/charts/colors1514.xml" ContentType="application/vnd.ms-office.chartcolorstyle+xml"/>
  <Override PartName="/ppt/charts/colors1515.xml" ContentType="application/vnd.ms-office.chartcolorstyle+xml"/>
  <Override PartName="/ppt/charts/colors1516.xml" ContentType="application/vnd.ms-office.chartcolorstyle+xml"/>
  <Override PartName="/ppt/charts/colors1517.xml" ContentType="application/vnd.ms-office.chartcolorstyle+xml"/>
  <Override PartName="/ppt/charts/colors1518.xml" ContentType="application/vnd.ms-office.chartcolorstyle+xml"/>
  <Override PartName="/ppt/charts/colors1519.xml" ContentType="application/vnd.ms-office.chartcolorstyle+xml"/>
  <Override PartName="/ppt/charts/colors152.xml" ContentType="application/vnd.ms-office.chartcolorstyle+xml"/>
  <Override PartName="/ppt/charts/colors1520.xml" ContentType="application/vnd.ms-office.chartcolorstyle+xml"/>
  <Override PartName="/ppt/charts/colors1521.xml" ContentType="application/vnd.ms-office.chartcolorstyle+xml"/>
  <Override PartName="/ppt/charts/colors1522.xml" ContentType="application/vnd.ms-office.chartcolorstyle+xml"/>
  <Override PartName="/ppt/charts/colors1523.xml" ContentType="application/vnd.ms-office.chartcolorstyle+xml"/>
  <Override PartName="/ppt/charts/colors1524.xml" ContentType="application/vnd.ms-office.chartcolorstyle+xml"/>
  <Override PartName="/ppt/charts/colors1525.xml" ContentType="application/vnd.ms-office.chartcolorstyle+xml"/>
  <Override PartName="/ppt/charts/colors1526.xml" ContentType="application/vnd.ms-office.chartcolorstyle+xml"/>
  <Override PartName="/ppt/charts/colors1527.xml" ContentType="application/vnd.ms-office.chartcolorstyle+xml"/>
  <Override PartName="/ppt/charts/colors1528.xml" ContentType="application/vnd.ms-office.chartcolorstyle+xml"/>
  <Override PartName="/ppt/charts/colors1529.xml" ContentType="application/vnd.ms-office.chartcolorstyle+xml"/>
  <Override PartName="/ppt/charts/colors153.xml" ContentType="application/vnd.ms-office.chartcolorstyle+xml"/>
  <Override PartName="/ppt/charts/colors1530.xml" ContentType="application/vnd.ms-office.chartcolorstyle+xml"/>
  <Override PartName="/ppt/charts/colors1531.xml" ContentType="application/vnd.ms-office.chartcolorstyle+xml"/>
  <Override PartName="/ppt/charts/colors1532.xml" ContentType="application/vnd.ms-office.chartcolorstyle+xml"/>
  <Override PartName="/ppt/charts/colors1533.xml" ContentType="application/vnd.ms-office.chartcolorstyle+xml"/>
  <Override PartName="/ppt/charts/colors1534.xml" ContentType="application/vnd.ms-office.chartcolorstyle+xml"/>
  <Override PartName="/ppt/charts/colors1535.xml" ContentType="application/vnd.ms-office.chartcolorstyle+xml"/>
  <Override PartName="/ppt/charts/colors1536.xml" ContentType="application/vnd.ms-office.chartcolorstyle+xml"/>
  <Override PartName="/ppt/charts/colors1537.xml" ContentType="application/vnd.ms-office.chartcolorstyle+xml"/>
  <Override PartName="/ppt/charts/colors1538.xml" ContentType="application/vnd.ms-office.chartcolorstyle+xml"/>
  <Override PartName="/ppt/charts/colors1539.xml" ContentType="application/vnd.ms-office.chartcolorstyle+xml"/>
  <Override PartName="/ppt/charts/colors154.xml" ContentType="application/vnd.ms-office.chartcolorstyle+xml"/>
  <Override PartName="/ppt/charts/colors1540.xml" ContentType="application/vnd.ms-office.chartcolorstyle+xml"/>
  <Override PartName="/ppt/charts/colors1541.xml" ContentType="application/vnd.ms-office.chartcolorstyle+xml"/>
  <Override PartName="/ppt/charts/colors1542.xml" ContentType="application/vnd.ms-office.chartcolorstyle+xml"/>
  <Override PartName="/ppt/charts/colors1543.xml" ContentType="application/vnd.ms-office.chartcolorstyle+xml"/>
  <Override PartName="/ppt/charts/colors1544.xml" ContentType="application/vnd.ms-office.chartcolorstyle+xml"/>
  <Override PartName="/ppt/charts/colors1545.xml" ContentType="application/vnd.ms-office.chartcolorstyle+xml"/>
  <Override PartName="/ppt/charts/colors1546.xml" ContentType="application/vnd.ms-office.chartcolorstyle+xml"/>
  <Override PartName="/ppt/charts/colors1547.xml" ContentType="application/vnd.ms-office.chartcolorstyle+xml"/>
  <Override PartName="/ppt/charts/colors1548.xml" ContentType="application/vnd.ms-office.chartcolorstyle+xml"/>
  <Override PartName="/ppt/charts/colors1549.xml" ContentType="application/vnd.ms-office.chartcolorstyle+xml"/>
  <Override PartName="/ppt/charts/colors155.xml" ContentType="application/vnd.ms-office.chartcolorstyle+xml"/>
  <Override PartName="/ppt/charts/colors1550.xml" ContentType="application/vnd.ms-office.chartcolorstyle+xml"/>
  <Override PartName="/ppt/charts/colors1551.xml" ContentType="application/vnd.ms-office.chartcolorstyle+xml"/>
  <Override PartName="/ppt/charts/colors1552.xml" ContentType="application/vnd.ms-office.chartcolorstyle+xml"/>
  <Override PartName="/ppt/charts/colors1553.xml" ContentType="application/vnd.ms-office.chartcolorstyle+xml"/>
  <Override PartName="/ppt/charts/colors1554.xml" ContentType="application/vnd.ms-office.chartcolorstyle+xml"/>
  <Override PartName="/ppt/charts/colors1555.xml" ContentType="application/vnd.ms-office.chartcolorstyle+xml"/>
  <Override PartName="/ppt/charts/colors1556.xml" ContentType="application/vnd.ms-office.chartcolorstyle+xml"/>
  <Override PartName="/ppt/charts/colors1557.xml" ContentType="application/vnd.ms-office.chartcolorstyle+xml"/>
  <Override PartName="/ppt/charts/colors1558.xml" ContentType="application/vnd.ms-office.chartcolorstyle+xml"/>
  <Override PartName="/ppt/charts/colors1559.xml" ContentType="application/vnd.ms-office.chartcolorstyle+xml"/>
  <Override PartName="/ppt/charts/colors156.xml" ContentType="application/vnd.ms-office.chartcolorstyle+xml"/>
  <Override PartName="/ppt/charts/colors1560.xml" ContentType="application/vnd.ms-office.chartcolorstyle+xml"/>
  <Override PartName="/ppt/charts/colors1561.xml" ContentType="application/vnd.ms-office.chartcolorstyle+xml"/>
  <Override PartName="/ppt/charts/colors1562.xml" ContentType="application/vnd.ms-office.chartcolorstyle+xml"/>
  <Override PartName="/ppt/charts/colors1563.xml" ContentType="application/vnd.ms-office.chartcolorstyle+xml"/>
  <Override PartName="/ppt/charts/colors1564.xml" ContentType="application/vnd.ms-office.chartcolorstyle+xml"/>
  <Override PartName="/ppt/charts/colors1565.xml" ContentType="application/vnd.ms-office.chartcolorstyle+xml"/>
  <Override PartName="/ppt/charts/colors1566.xml" ContentType="application/vnd.ms-office.chartcolorstyle+xml"/>
  <Override PartName="/ppt/charts/colors1567.xml" ContentType="application/vnd.ms-office.chartcolorstyle+xml"/>
  <Override PartName="/ppt/charts/colors1568.xml" ContentType="application/vnd.ms-office.chartcolorstyle+xml"/>
  <Override PartName="/ppt/charts/colors1569.xml" ContentType="application/vnd.ms-office.chartcolorstyle+xml"/>
  <Override PartName="/ppt/charts/colors157.xml" ContentType="application/vnd.ms-office.chartcolorstyle+xml"/>
  <Override PartName="/ppt/charts/colors1570.xml" ContentType="application/vnd.ms-office.chartcolorstyle+xml"/>
  <Override PartName="/ppt/charts/colors1571.xml" ContentType="application/vnd.ms-office.chartcolorstyle+xml"/>
  <Override PartName="/ppt/charts/colors1572.xml" ContentType="application/vnd.ms-office.chartcolorstyle+xml"/>
  <Override PartName="/ppt/charts/colors1573.xml" ContentType="application/vnd.ms-office.chartcolorstyle+xml"/>
  <Override PartName="/ppt/charts/colors1574.xml" ContentType="application/vnd.ms-office.chartcolorstyle+xml"/>
  <Override PartName="/ppt/charts/colors1575.xml" ContentType="application/vnd.ms-office.chartcolorstyle+xml"/>
  <Override PartName="/ppt/charts/colors1576.xml" ContentType="application/vnd.ms-office.chartcolorstyle+xml"/>
  <Override PartName="/ppt/charts/colors1577.xml" ContentType="application/vnd.ms-office.chartcolorstyle+xml"/>
  <Override PartName="/ppt/charts/colors1578.xml" ContentType="application/vnd.ms-office.chartcolorstyle+xml"/>
  <Override PartName="/ppt/charts/colors1579.xml" ContentType="application/vnd.ms-office.chartcolorstyle+xml"/>
  <Override PartName="/ppt/charts/colors158.xml" ContentType="application/vnd.ms-office.chartcolorstyle+xml"/>
  <Override PartName="/ppt/charts/colors1580.xml" ContentType="application/vnd.ms-office.chartcolorstyle+xml"/>
  <Override PartName="/ppt/charts/colors1581.xml" ContentType="application/vnd.ms-office.chartcolorstyle+xml"/>
  <Override PartName="/ppt/charts/colors1582.xml" ContentType="application/vnd.ms-office.chartcolorstyle+xml"/>
  <Override PartName="/ppt/charts/colors1583.xml" ContentType="application/vnd.ms-office.chartcolorstyle+xml"/>
  <Override PartName="/ppt/charts/colors1584.xml" ContentType="application/vnd.ms-office.chartcolorstyle+xml"/>
  <Override PartName="/ppt/charts/colors1585.xml" ContentType="application/vnd.ms-office.chartcolorstyle+xml"/>
  <Override PartName="/ppt/charts/colors1586.xml" ContentType="application/vnd.ms-office.chartcolorstyle+xml"/>
  <Override PartName="/ppt/charts/colors1587.xml" ContentType="application/vnd.ms-office.chartcolorstyle+xml"/>
  <Override PartName="/ppt/charts/colors1588.xml" ContentType="application/vnd.ms-office.chartcolorstyle+xml"/>
  <Override PartName="/ppt/charts/colors1589.xml" ContentType="application/vnd.ms-office.chartcolorstyle+xml"/>
  <Override PartName="/ppt/charts/colors159.xml" ContentType="application/vnd.ms-office.chartcolorstyle+xml"/>
  <Override PartName="/ppt/charts/colors1590.xml" ContentType="application/vnd.ms-office.chartcolorstyle+xml"/>
  <Override PartName="/ppt/charts/colors1591.xml" ContentType="application/vnd.ms-office.chartcolorstyle+xml"/>
  <Override PartName="/ppt/charts/colors1592.xml" ContentType="application/vnd.ms-office.chartcolorstyle+xml"/>
  <Override PartName="/ppt/charts/colors1593.xml" ContentType="application/vnd.ms-office.chartcolorstyle+xml"/>
  <Override PartName="/ppt/charts/colors1594.xml" ContentType="application/vnd.ms-office.chartcolorstyle+xml"/>
  <Override PartName="/ppt/charts/colors1595.xml" ContentType="application/vnd.ms-office.chartcolorstyle+xml"/>
  <Override PartName="/ppt/charts/colors1596.xml" ContentType="application/vnd.ms-office.chartcolorstyle+xml"/>
  <Override PartName="/ppt/charts/colors1597.xml" ContentType="application/vnd.ms-office.chartcolorstyle+xml"/>
  <Override PartName="/ppt/charts/colors1598.xml" ContentType="application/vnd.ms-office.chartcolorstyle+xml"/>
  <Override PartName="/ppt/charts/colors1599.xml" ContentType="application/vnd.ms-office.chartcolorstyle+xml"/>
  <Override PartName="/ppt/charts/colors16.xml" ContentType="application/vnd.ms-office.chartcolorstyle+xml"/>
  <Override PartName="/ppt/charts/colors160.xml" ContentType="application/vnd.ms-office.chartcolorstyle+xml"/>
  <Override PartName="/ppt/charts/colors1600.xml" ContentType="application/vnd.ms-office.chartcolorstyle+xml"/>
  <Override PartName="/ppt/charts/colors1601.xml" ContentType="application/vnd.ms-office.chartcolorstyle+xml"/>
  <Override PartName="/ppt/charts/colors1602.xml" ContentType="application/vnd.ms-office.chartcolorstyle+xml"/>
  <Override PartName="/ppt/charts/colors1603.xml" ContentType="application/vnd.ms-office.chartcolorstyle+xml"/>
  <Override PartName="/ppt/charts/colors1604.xml" ContentType="application/vnd.ms-office.chartcolorstyle+xml"/>
  <Override PartName="/ppt/charts/colors1605.xml" ContentType="application/vnd.ms-office.chartcolorstyle+xml"/>
  <Override PartName="/ppt/charts/colors1606.xml" ContentType="application/vnd.ms-office.chartcolorstyle+xml"/>
  <Override PartName="/ppt/charts/colors1607.xml" ContentType="application/vnd.ms-office.chartcolorstyle+xml"/>
  <Override PartName="/ppt/charts/colors1608.xml" ContentType="application/vnd.ms-office.chartcolorstyle+xml"/>
  <Override PartName="/ppt/charts/colors1609.xml" ContentType="application/vnd.ms-office.chartcolorstyle+xml"/>
  <Override PartName="/ppt/charts/colors161.xml" ContentType="application/vnd.ms-office.chartcolorstyle+xml"/>
  <Override PartName="/ppt/charts/colors1610.xml" ContentType="application/vnd.ms-office.chartcolorstyle+xml"/>
  <Override PartName="/ppt/charts/colors1611.xml" ContentType="application/vnd.ms-office.chartcolorstyle+xml"/>
  <Override PartName="/ppt/charts/colors1612.xml" ContentType="application/vnd.ms-office.chartcolorstyle+xml"/>
  <Override PartName="/ppt/charts/colors1613.xml" ContentType="application/vnd.ms-office.chartcolorstyle+xml"/>
  <Override PartName="/ppt/charts/colors1614.xml" ContentType="application/vnd.ms-office.chartcolorstyle+xml"/>
  <Override PartName="/ppt/charts/colors1615.xml" ContentType="application/vnd.ms-office.chartcolorstyle+xml"/>
  <Override PartName="/ppt/charts/colors1616.xml" ContentType="application/vnd.ms-office.chartcolorstyle+xml"/>
  <Override PartName="/ppt/charts/colors1617.xml" ContentType="application/vnd.ms-office.chartcolorstyle+xml"/>
  <Override PartName="/ppt/charts/colors1618.xml" ContentType="application/vnd.ms-office.chartcolorstyle+xml"/>
  <Override PartName="/ppt/charts/colors1619.xml" ContentType="application/vnd.ms-office.chartcolorstyle+xml"/>
  <Override PartName="/ppt/charts/colors162.xml" ContentType="application/vnd.ms-office.chartcolorstyle+xml"/>
  <Override PartName="/ppt/charts/colors1620.xml" ContentType="application/vnd.ms-office.chartcolorstyle+xml"/>
  <Override PartName="/ppt/charts/colors1621.xml" ContentType="application/vnd.ms-office.chartcolorstyle+xml"/>
  <Override PartName="/ppt/charts/colors1622.xml" ContentType="application/vnd.ms-office.chartcolorstyle+xml"/>
  <Override PartName="/ppt/charts/colors1623.xml" ContentType="application/vnd.ms-office.chartcolorstyle+xml"/>
  <Override PartName="/ppt/charts/colors1624.xml" ContentType="application/vnd.ms-office.chartcolorstyle+xml"/>
  <Override PartName="/ppt/charts/colors1625.xml" ContentType="application/vnd.ms-office.chartcolorstyle+xml"/>
  <Override PartName="/ppt/charts/colors1626.xml" ContentType="application/vnd.ms-office.chartcolorstyle+xml"/>
  <Override PartName="/ppt/charts/colors1627.xml" ContentType="application/vnd.ms-office.chartcolorstyle+xml"/>
  <Override PartName="/ppt/charts/colors1628.xml" ContentType="application/vnd.ms-office.chartcolorstyle+xml"/>
  <Override PartName="/ppt/charts/colors1629.xml" ContentType="application/vnd.ms-office.chartcolorstyle+xml"/>
  <Override PartName="/ppt/charts/colors163.xml" ContentType="application/vnd.ms-office.chartcolorstyle+xml"/>
  <Override PartName="/ppt/charts/colors1630.xml" ContentType="application/vnd.ms-office.chartcolorstyle+xml"/>
  <Override PartName="/ppt/charts/colors1631.xml" ContentType="application/vnd.ms-office.chartcolorstyle+xml"/>
  <Override PartName="/ppt/charts/colors1632.xml" ContentType="application/vnd.ms-office.chartcolorstyle+xml"/>
  <Override PartName="/ppt/charts/colors1633.xml" ContentType="application/vnd.ms-office.chartcolorstyle+xml"/>
  <Override PartName="/ppt/charts/colors1634.xml" ContentType="application/vnd.ms-office.chartcolorstyle+xml"/>
  <Override PartName="/ppt/charts/colors1635.xml" ContentType="application/vnd.ms-office.chartcolorstyle+xml"/>
  <Override PartName="/ppt/charts/colors1636.xml" ContentType="application/vnd.ms-office.chartcolorstyle+xml"/>
  <Override PartName="/ppt/charts/colors1637.xml" ContentType="application/vnd.ms-office.chartcolorstyle+xml"/>
  <Override PartName="/ppt/charts/colors1638.xml" ContentType="application/vnd.ms-office.chartcolorstyle+xml"/>
  <Override PartName="/ppt/charts/colors1639.xml" ContentType="application/vnd.ms-office.chartcolorstyle+xml"/>
  <Override PartName="/ppt/charts/colors164.xml" ContentType="application/vnd.ms-office.chartcolorstyle+xml"/>
  <Override PartName="/ppt/charts/colors1640.xml" ContentType="application/vnd.ms-office.chartcolorstyle+xml"/>
  <Override PartName="/ppt/charts/colors1641.xml" ContentType="application/vnd.ms-office.chartcolorstyle+xml"/>
  <Override PartName="/ppt/charts/colors1642.xml" ContentType="application/vnd.ms-office.chartcolorstyle+xml"/>
  <Override PartName="/ppt/charts/colors1643.xml" ContentType="application/vnd.ms-office.chartcolorstyle+xml"/>
  <Override PartName="/ppt/charts/colors1644.xml" ContentType="application/vnd.ms-office.chartcolorstyle+xml"/>
  <Override PartName="/ppt/charts/colors1645.xml" ContentType="application/vnd.ms-office.chartcolorstyle+xml"/>
  <Override PartName="/ppt/charts/colors1646.xml" ContentType="application/vnd.ms-office.chartcolorstyle+xml"/>
  <Override PartName="/ppt/charts/colors1647.xml" ContentType="application/vnd.ms-office.chartcolorstyle+xml"/>
  <Override PartName="/ppt/charts/colors1648.xml" ContentType="application/vnd.ms-office.chartcolorstyle+xml"/>
  <Override PartName="/ppt/charts/colors1649.xml" ContentType="application/vnd.ms-office.chartcolorstyle+xml"/>
  <Override PartName="/ppt/charts/colors165.xml" ContentType="application/vnd.ms-office.chartcolorstyle+xml"/>
  <Override PartName="/ppt/charts/colors1650.xml" ContentType="application/vnd.ms-office.chartcolorstyle+xml"/>
  <Override PartName="/ppt/charts/colors1651.xml" ContentType="application/vnd.ms-office.chartcolorstyle+xml"/>
  <Override PartName="/ppt/charts/colors1652.xml" ContentType="application/vnd.ms-office.chartcolorstyle+xml"/>
  <Override PartName="/ppt/charts/colors1653.xml" ContentType="application/vnd.ms-office.chartcolorstyle+xml"/>
  <Override PartName="/ppt/charts/colors1654.xml" ContentType="application/vnd.ms-office.chartcolorstyle+xml"/>
  <Override PartName="/ppt/charts/colors1655.xml" ContentType="application/vnd.ms-office.chartcolorstyle+xml"/>
  <Override PartName="/ppt/charts/colors1656.xml" ContentType="application/vnd.ms-office.chartcolorstyle+xml"/>
  <Override PartName="/ppt/charts/colors1657.xml" ContentType="application/vnd.ms-office.chartcolorstyle+xml"/>
  <Override PartName="/ppt/charts/colors1658.xml" ContentType="application/vnd.ms-office.chartcolorstyle+xml"/>
  <Override PartName="/ppt/charts/colors1659.xml" ContentType="application/vnd.ms-office.chartcolorstyle+xml"/>
  <Override PartName="/ppt/charts/colors166.xml" ContentType="application/vnd.ms-office.chartcolorstyle+xml"/>
  <Override PartName="/ppt/charts/colors1660.xml" ContentType="application/vnd.ms-office.chartcolorstyle+xml"/>
  <Override PartName="/ppt/charts/colors1661.xml" ContentType="application/vnd.ms-office.chartcolorstyle+xml"/>
  <Override PartName="/ppt/charts/colors1662.xml" ContentType="application/vnd.ms-office.chartcolorstyle+xml"/>
  <Override PartName="/ppt/charts/colors1663.xml" ContentType="application/vnd.ms-office.chartcolorstyle+xml"/>
  <Override PartName="/ppt/charts/colors1664.xml" ContentType="application/vnd.ms-office.chartcolorstyle+xml"/>
  <Override PartName="/ppt/charts/colors1665.xml" ContentType="application/vnd.ms-office.chartcolorstyle+xml"/>
  <Override PartName="/ppt/charts/colors1666.xml" ContentType="application/vnd.ms-office.chartcolorstyle+xml"/>
  <Override PartName="/ppt/charts/colors1667.xml" ContentType="application/vnd.ms-office.chartcolorstyle+xml"/>
  <Override PartName="/ppt/charts/colors1668.xml" ContentType="application/vnd.ms-office.chartcolorstyle+xml"/>
  <Override PartName="/ppt/charts/colors1669.xml" ContentType="application/vnd.ms-office.chartcolorstyle+xml"/>
  <Override PartName="/ppt/charts/colors167.xml" ContentType="application/vnd.ms-office.chartcolorstyle+xml"/>
  <Override PartName="/ppt/charts/colors1670.xml" ContentType="application/vnd.ms-office.chartcolorstyle+xml"/>
  <Override PartName="/ppt/charts/colors1671.xml" ContentType="application/vnd.ms-office.chartcolorstyle+xml"/>
  <Override PartName="/ppt/charts/colors1672.xml" ContentType="application/vnd.ms-office.chartcolorstyle+xml"/>
  <Override PartName="/ppt/charts/colors1673.xml" ContentType="application/vnd.ms-office.chartcolorstyle+xml"/>
  <Override PartName="/ppt/charts/colors1674.xml" ContentType="application/vnd.ms-office.chartcolorstyle+xml"/>
  <Override PartName="/ppt/charts/colors1675.xml" ContentType="application/vnd.ms-office.chartcolorstyle+xml"/>
  <Override PartName="/ppt/charts/colors1676.xml" ContentType="application/vnd.ms-office.chartcolorstyle+xml"/>
  <Override PartName="/ppt/charts/colors1677.xml" ContentType="application/vnd.ms-office.chartcolorstyle+xml"/>
  <Override PartName="/ppt/charts/colors1678.xml" ContentType="application/vnd.ms-office.chartcolorstyle+xml"/>
  <Override PartName="/ppt/charts/colors1679.xml" ContentType="application/vnd.ms-office.chartcolorstyle+xml"/>
  <Override PartName="/ppt/charts/colors168.xml" ContentType="application/vnd.ms-office.chartcolorstyle+xml"/>
  <Override PartName="/ppt/charts/colors1680.xml" ContentType="application/vnd.ms-office.chartcolorstyle+xml"/>
  <Override PartName="/ppt/charts/colors1681.xml" ContentType="application/vnd.ms-office.chartcolorstyle+xml"/>
  <Override PartName="/ppt/charts/colors1682.xml" ContentType="application/vnd.ms-office.chartcolorstyle+xml"/>
  <Override PartName="/ppt/charts/colors1683.xml" ContentType="application/vnd.ms-office.chartcolorstyle+xml"/>
  <Override PartName="/ppt/charts/colors1684.xml" ContentType="application/vnd.ms-office.chartcolorstyle+xml"/>
  <Override PartName="/ppt/charts/colors1685.xml" ContentType="application/vnd.ms-office.chartcolorstyle+xml"/>
  <Override PartName="/ppt/charts/colors1686.xml" ContentType="application/vnd.ms-office.chartcolorstyle+xml"/>
  <Override PartName="/ppt/charts/colors1687.xml" ContentType="application/vnd.ms-office.chartcolorstyle+xml"/>
  <Override PartName="/ppt/charts/colors1688.xml" ContentType="application/vnd.ms-office.chartcolorstyle+xml"/>
  <Override PartName="/ppt/charts/colors1689.xml" ContentType="application/vnd.ms-office.chartcolorstyle+xml"/>
  <Override PartName="/ppt/charts/colors169.xml" ContentType="application/vnd.ms-office.chartcolorstyle+xml"/>
  <Override PartName="/ppt/charts/colors1690.xml" ContentType="application/vnd.ms-office.chartcolorstyle+xml"/>
  <Override PartName="/ppt/charts/colors1691.xml" ContentType="application/vnd.ms-office.chartcolorstyle+xml"/>
  <Override PartName="/ppt/charts/colors1692.xml" ContentType="application/vnd.ms-office.chartcolorstyle+xml"/>
  <Override PartName="/ppt/charts/colors1693.xml" ContentType="application/vnd.ms-office.chartcolorstyle+xml"/>
  <Override PartName="/ppt/charts/colors1694.xml" ContentType="application/vnd.ms-office.chartcolorstyle+xml"/>
  <Override PartName="/ppt/charts/colors1695.xml" ContentType="application/vnd.ms-office.chartcolorstyle+xml"/>
  <Override PartName="/ppt/charts/colors1696.xml" ContentType="application/vnd.ms-office.chartcolorstyle+xml"/>
  <Override PartName="/ppt/charts/colors1697.xml" ContentType="application/vnd.ms-office.chartcolorstyle+xml"/>
  <Override PartName="/ppt/charts/colors1698.xml" ContentType="application/vnd.ms-office.chartcolorstyle+xml"/>
  <Override PartName="/ppt/charts/colors1699.xml" ContentType="application/vnd.ms-office.chartcolorstyle+xml"/>
  <Override PartName="/ppt/charts/colors17.xml" ContentType="application/vnd.ms-office.chartcolorstyle+xml"/>
  <Override PartName="/ppt/charts/colors170.xml" ContentType="application/vnd.ms-office.chartcolorstyle+xml"/>
  <Override PartName="/ppt/charts/colors1700.xml" ContentType="application/vnd.ms-office.chartcolorstyle+xml"/>
  <Override PartName="/ppt/charts/colors1701.xml" ContentType="application/vnd.ms-office.chartcolorstyle+xml"/>
  <Override PartName="/ppt/charts/colors1702.xml" ContentType="application/vnd.ms-office.chartcolorstyle+xml"/>
  <Override PartName="/ppt/charts/colors1703.xml" ContentType="application/vnd.ms-office.chartcolorstyle+xml"/>
  <Override PartName="/ppt/charts/colors1704.xml" ContentType="application/vnd.ms-office.chartcolorstyle+xml"/>
  <Override PartName="/ppt/charts/colors1705.xml" ContentType="application/vnd.ms-office.chartcolorstyle+xml"/>
  <Override PartName="/ppt/charts/colors1706.xml" ContentType="application/vnd.ms-office.chartcolorstyle+xml"/>
  <Override PartName="/ppt/charts/colors1707.xml" ContentType="application/vnd.ms-office.chartcolorstyle+xml"/>
  <Override PartName="/ppt/charts/colors1708.xml" ContentType="application/vnd.ms-office.chartcolorstyle+xml"/>
  <Override PartName="/ppt/charts/colors1709.xml" ContentType="application/vnd.ms-office.chartcolorstyle+xml"/>
  <Override PartName="/ppt/charts/colors171.xml" ContentType="application/vnd.ms-office.chartcolorstyle+xml"/>
  <Override PartName="/ppt/charts/colors1710.xml" ContentType="application/vnd.ms-office.chartcolorstyle+xml"/>
  <Override PartName="/ppt/charts/colors1711.xml" ContentType="application/vnd.ms-office.chartcolorstyle+xml"/>
  <Override PartName="/ppt/charts/colors1712.xml" ContentType="application/vnd.ms-office.chartcolorstyle+xml"/>
  <Override PartName="/ppt/charts/colors1713.xml" ContentType="application/vnd.ms-office.chartcolorstyle+xml"/>
  <Override PartName="/ppt/charts/colors1714.xml" ContentType="application/vnd.ms-office.chartcolorstyle+xml"/>
  <Override PartName="/ppt/charts/colors1715.xml" ContentType="application/vnd.ms-office.chartcolorstyle+xml"/>
  <Override PartName="/ppt/charts/colors1716.xml" ContentType="application/vnd.ms-office.chartcolorstyle+xml"/>
  <Override PartName="/ppt/charts/colors1717.xml" ContentType="application/vnd.ms-office.chartcolorstyle+xml"/>
  <Override PartName="/ppt/charts/colors1718.xml" ContentType="application/vnd.ms-office.chartcolorstyle+xml"/>
  <Override PartName="/ppt/charts/colors1719.xml" ContentType="application/vnd.ms-office.chartcolorstyle+xml"/>
  <Override PartName="/ppt/charts/colors172.xml" ContentType="application/vnd.ms-office.chartcolorstyle+xml"/>
  <Override PartName="/ppt/charts/colors1720.xml" ContentType="application/vnd.ms-office.chartcolorstyle+xml"/>
  <Override PartName="/ppt/charts/colors1721.xml" ContentType="application/vnd.ms-office.chartcolorstyle+xml"/>
  <Override PartName="/ppt/charts/colors1722.xml" ContentType="application/vnd.ms-office.chartcolorstyle+xml"/>
  <Override PartName="/ppt/charts/colors1723.xml" ContentType="application/vnd.ms-office.chartcolorstyle+xml"/>
  <Override PartName="/ppt/charts/colors1724.xml" ContentType="application/vnd.ms-office.chartcolorstyle+xml"/>
  <Override PartName="/ppt/charts/colors1725.xml" ContentType="application/vnd.ms-office.chartcolorstyle+xml"/>
  <Override PartName="/ppt/charts/colors1726.xml" ContentType="application/vnd.ms-office.chartcolorstyle+xml"/>
  <Override PartName="/ppt/charts/colors1727.xml" ContentType="application/vnd.ms-office.chartcolorstyle+xml"/>
  <Override PartName="/ppt/charts/colors1728.xml" ContentType="application/vnd.ms-office.chartcolorstyle+xml"/>
  <Override PartName="/ppt/charts/colors1729.xml" ContentType="application/vnd.ms-office.chartcolorstyle+xml"/>
  <Override PartName="/ppt/charts/colors173.xml" ContentType="application/vnd.ms-office.chartcolorstyle+xml"/>
  <Override PartName="/ppt/charts/colors1730.xml" ContentType="application/vnd.ms-office.chartcolorstyle+xml"/>
  <Override PartName="/ppt/charts/colors1731.xml" ContentType="application/vnd.ms-office.chartcolorstyle+xml"/>
  <Override PartName="/ppt/charts/colors1732.xml" ContentType="application/vnd.ms-office.chartcolorstyle+xml"/>
  <Override PartName="/ppt/charts/colors1733.xml" ContentType="application/vnd.ms-office.chartcolorstyle+xml"/>
  <Override PartName="/ppt/charts/colors1734.xml" ContentType="application/vnd.ms-office.chartcolorstyle+xml"/>
  <Override PartName="/ppt/charts/colors1735.xml" ContentType="application/vnd.ms-office.chartcolorstyle+xml"/>
  <Override PartName="/ppt/charts/colors1736.xml" ContentType="application/vnd.ms-office.chartcolorstyle+xml"/>
  <Override PartName="/ppt/charts/colors1737.xml" ContentType="application/vnd.ms-office.chartcolorstyle+xml"/>
  <Override PartName="/ppt/charts/colors1738.xml" ContentType="application/vnd.ms-office.chartcolorstyle+xml"/>
  <Override PartName="/ppt/charts/colors1739.xml" ContentType="application/vnd.ms-office.chartcolorstyle+xml"/>
  <Override PartName="/ppt/charts/colors174.xml" ContentType="application/vnd.ms-office.chartcolorstyle+xml"/>
  <Override PartName="/ppt/charts/colors1740.xml" ContentType="application/vnd.ms-office.chartcolorstyle+xml"/>
  <Override PartName="/ppt/charts/colors1741.xml" ContentType="application/vnd.ms-office.chartcolorstyle+xml"/>
  <Override PartName="/ppt/charts/colors1742.xml" ContentType="application/vnd.ms-office.chartcolorstyle+xml"/>
  <Override PartName="/ppt/charts/colors1743.xml" ContentType="application/vnd.ms-office.chartcolorstyle+xml"/>
  <Override PartName="/ppt/charts/colors1744.xml" ContentType="application/vnd.ms-office.chartcolorstyle+xml"/>
  <Override PartName="/ppt/charts/colors1745.xml" ContentType="application/vnd.ms-office.chartcolorstyle+xml"/>
  <Override PartName="/ppt/charts/colors1746.xml" ContentType="application/vnd.ms-office.chartcolorstyle+xml"/>
  <Override PartName="/ppt/charts/colors1747.xml" ContentType="application/vnd.ms-office.chartcolorstyle+xml"/>
  <Override PartName="/ppt/charts/colors1748.xml" ContentType="application/vnd.ms-office.chartcolorstyle+xml"/>
  <Override PartName="/ppt/charts/colors1749.xml" ContentType="application/vnd.ms-office.chartcolorstyle+xml"/>
  <Override PartName="/ppt/charts/colors175.xml" ContentType="application/vnd.ms-office.chartcolorstyle+xml"/>
  <Override PartName="/ppt/charts/colors1750.xml" ContentType="application/vnd.ms-office.chartcolorstyle+xml"/>
  <Override PartName="/ppt/charts/colors1751.xml" ContentType="application/vnd.ms-office.chartcolorstyle+xml"/>
  <Override PartName="/ppt/charts/colors1752.xml" ContentType="application/vnd.ms-office.chartcolorstyle+xml"/>
  <Override PartName="/ppt/charts/colors1753.xml" ContentType="application/vnd.ms-office.chartcolorstyle+xml"/>
  <Override PartName="/ppt/charts/colors1754.xml" ContentType="application/vnd.ms-office.chartcolorstyle+xml"/>
  <Override PartName="/ppt/charts/colors1755.xml" ContentType="application/vnd.ms-office.chartcolorstyle+xml"/>
  <Override PartName="/ppt/charts/colors1756.xml" ContentType="application/vnd.ms-office.chartcolorstyle+xml"/>
  <Override PartName="/ppt/charts/colors1757.xml" ContentType="application/vnd.ms-office.chartcolorstyle+xml"/>
  <Override PartName="/ppt/charts/colors1758.xml" ContentType="application/vnd.ms-office.chartcolorstyle+xml"/>
  <Override PartName="/ppt/charts/colors1759.xml" ContentType="application/vnd.ms-office.chartcolorstyle+xml"/>
  <Override PartName="/ppt/charts/colors176.xml" ContentType="application/vnd.ms-office.chartcolorstyle+xml"/>
  <Override PartName="/ppt/charts/colors1760.xml" ContentType="application/vnd.ms-office.chartcolorstyle+xml"/>
  <Override PartName="/ppt/charts/colors1761.xml" ContentType="application/vnd.ms-office.chartcolorstyle+xml"/>
  <Override PartName="/ppt/charts/colors1762.xml" ContentType="application/vnd.ms-office.chartcolorstyle+xml"/>
  <Override PartName="/ppt/charts/colors1763.xml" ContentType="application/vnd.ms-office.chartcolorstyle+xml"/>
  <Override PartName="/ppt/charts/colors1764.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17.xml" ContentType="application/vnd.ms-office.chartcolorstyle+xml"/>
  <Override PartName="/ppt/charts/colors818.xml" ContentType="application/vnd.ms-office.chartcolorstyle+xml"/>
  <Override PartName="/ppt/charts/colors819.xml" ContentType="application/vnd.ms-office.chartcolorstyle+xml"/>
  <Override PartName="/ppt/charts/colors82.xml" ContentType="application/vnd.ms-office.chartcolorstyle+xml"/>
  <Override PartName="/ppt/charts/colors820.xml" ContentType="application/vnd.ms-office.chartcolorstyle+xml"/>
  <Override PartName="/ppt/charts/colors821.xml" ContentType="application/vnd.ms-office.chartcolorstyle+xml"/>
  <Override PartName="/ppt/charts/colors822.xml" ContentType="application/vnd.ms-office.chartcolorstyle+xml"/>
  <Override PartName="/ppt/charts/colors823.xml" ContentType="application/vnd.ms-office.chartcolorstyle+xml"/>
  <Override PartName="/ppt/charts/colors824.xml" ContentType="application/vnd.ms-office.chartcolorstyle+xml"/>
  <Override PartName="/ppt/charts/colors825.xml" ContentType="application/vnd.ms-office.chartcolorstyle+xml"/>
  <Override PartName="/ppt/charts/colors826.xml" ContentType="application/vnd.ms-office.chartcolorstyle+xml"/>
  <Override PartName="/ppt/charts/colors827.xml" ContentType="application/vnd.ms-office.chartcolorstyle+xml"/>
  <Override PartName="/ppt/charts/colors828.xml" ContentType="application/vnd.ms-office.chartcolorstyle+xml"/>
  <Override PartName="/ppt/charts/colors829.xml" ContentType="application/vnd.ms-office.chartcolorstyle+xml"/>
  <Override PartName="/ppt/charts/colors83.xml" ContentType="application/vnd.ms-office.chartcolorstyle+xml"/>
  <Override PartName="/ppt/charts/colors830.xml" ContentType="application/vnd.ms-office.chartcolorstyle+xml"/>
  <Override PartName="/ppt/charts/colors831.xml" ContentType="application/vnd.ms-office.chartcolorstyle+xml"/>
  <Override PartName="/ppt/charts/colors832.xml" ContentType="application/vnd.ms-office.chartcolorstyle+xml"/>
  <Override PartName="/ppt/charts/colors833.xml" ContentType="application/vnd.ms-office.chartcolorstyle+xml"/>
  <Override PartName="/ppt/charts/colors834.xml" ContentType="application/vnd.ms-office.chartcolorstyle+xml"/>
  <Override PartName="/ppt/charts/colors835.xml" ContentType="application/vnd.ms-office.chartcolorstyle+xml"/>
  <Override PartName="/ppt/charts/colors836.xml" ContentType="application/vnd.ms-office.chartcolorstyle+xml"/>
  <Override PartName="/ppt/charts/colors837.xml" ContentType="application/vnd.ms-office.chartcolorstyle+xml"/>
  <Override PartName="/ppt/charts/colors838.xml" ContentType="application/vnd.ms-office.chartcolorstyle+xml"/>
  <Override PartName="/ppt/charts/colors839.xml" ContentType="application/vnd.ms-office.chartcolorstyle+xml"/>
  <Override PartName="/ppt/charts/colors84.xml" ContentType="application/vnd.ms-office.chartcolorstyle+xml"/>
  <Override PartName="/ppt/charts/colors840.xml" ContentType="application/vnd.ms-office.chartcolorstyle+xml"/>
  <Override PartName="/ppt/charts/colors841.xml" ContentType="application/vnd.ms-office.chartcolorstyle+xml"/>
  <Override PartName="/ppt/charts/colors842.xml" ContentType="application/vnd.ms-office.chartcolorstyle+xml"/>
  <Override PartName="/ppt/charts/colors843.xml" ContentType="application/vnd.ms-office.chartcolorstyle+xml"/>
  <Override PartName="/ppt/charts/colors844.xml" ContentType="application/vnd.ms-office.chartcolorstyle+xml"/>
  <Override PartName="/ppt/charts/colors845.xml" ContentType="application/vnd.ms-office.chartcolorstyle+xml"/>
  <Override PartName="/ppt/charts/colors846.xml" ContentType="application/vnd.ms-office.chartcolorstyle+xml"/>
  <Override PartName="/ppt/charts/colors847.xml" ContentType="application/vnd.ms-office.chartcolorstyle+xml"/>
  <Override PartName="/ppt/charts/colors848.xml" ContentType="application/vnd.ms-office.chartcolorstyle+xml"/>
  <Override PartName="/ppt/charts/colors849.xml" ContentType="application/vnd.ms-office.chartcolorstyle+xml"/>
  <Override PartName="/ppt/charts/colors85.xml" ContentType="application/vnd.ms-office.chartcolorstyle+xml"/>
  <Override PartName="/ppt/charts/colors850.xml" ContentType="application/vnd.ms-office.chartcolorstyle+xml"/>
  <Override PartName="/ppt/charts/colors851.xml" ContentType="application/vnd.ms-office.chartcolorstyle+xml"/>
  <Override PartName="/ppt/charts/colors852.xml" ContentType="application/vnd.ms-office.chartcolorstyle+xml"/>
  <Override PartName="/ppt/charts/colors853.xml" ContentType="application/vnd.ms-office.chartcolorstyle+xml"/>
  <Override PartName="/ppt/charts/colors854.xml" ContentType="application/vnd.ms-office.chartcolorstyle+xml"/>
  <Override PartName="/ppt/charts/colors855.xml" ContentType="application/vnd.ms-office.chartcolorstyle+xml"/>
  <Override PartName="/ppt/charts/colors856.xml" ContentType="application/vnd.ms-office.chartcolorstyle+xml"/>
  <Override PartName="/ppt/charts/colors857.xml" ContentType="application/vnd.ms-office.chartcolorstyle+xml"/>
  <Override PartName="/ppt/charts/colors858.xml" ContentType="application/vnd.ms-office.chartcolorstyle+xml"/>
  <Override PartName="/ppt/charts/colors859.xml" ContentType="application/vnd.ms-office.chartcolorstyle+xml"/>
  <Override PartName="/ppt/charts/colors86.xml" ContentType="application/vnd.ms-office.chartcolorstyle+xml"/>
  <Override PartName="/ppt/charts/colors860.xml" ContentType="application/vnd.ms-office.chartcolorstyle+xml"/>
  <Override PartName="/ppt/charts/colors861.xml" ContentType="application/vnd.ms-office.chartcolorstyle+xml"/>
  <Override PartName="/ppt/charts/colors862.xml" ContentType="application/vnd.ms-office.chartcolorstyle+xml"/>
  <Override PartName="/ppt/charts/colors863.xml" ContentType="application/vnd.ms-office.chartcolorstyle+xml"/>
  <Override PartName="/ppt/charts/colors864.xml" ContentType="application/vnd.ms-office.chartcolorstyle+xml"/>
  <Override PartName="/ppt/charts/colors865.xml" ContentType="application/vnd.ms-office.chartcolorstyle+xml"/>
  <Override PartName="/ppt/charts/colors866.xml" ContentType="application/vnd.ms-office.chartcolorstyle+xml"/>
  <Override PartName="/ppt/charts/colors867.xml" ContentType="application/vnd.ms-office.chartcolorstyle+xml"/>
  <Override PartName="/ppt/charts/colors868.xml" ContentType="application/vnd.ms-office.chartcolorstyle+xml"/>
  <Override PartName="/ppt/charts/colors869.xml" ContentType="application/vnd.ms-office.chartcolorstyle+xml"/>
  <Override PartName="/ppt/charts/colors87.xml" ContentType="application/vnd.ms-office.chartcolorstyle+xml"/>
  <Override PartName="/ppt/charts/colors870.xml" ContentType="application/vnd.ms-office.chartcolorstyle+xml"/>
  <Override PartName="/ppt/charts/colors871.xml" ContentType="application/vnd.ms-office.chartcolorstyle+xml"/>
  <Override PartName="/ppt/charts/colors872.xml" ContentType="application/vnd.ms-office.chartcolorstyle+xml"/>
  <Override PartName="/ppt/charts/colors873.xml" ContentType="application/vnd.ms-office.chartcolorstyle+xml"/>
  <Override PartName="/ppt/charts/colors874.xml" ContentType="application/vnd.ms-office.chartcolorstyle+xml"/>
  <Override PartName="/ppt/charts/colors875.xml" ContentType="application/vnd.ms-office.chartcolorstyle+xml"/>
  <Override PartName="/ppt/charts/colors876.xml" ContentType="application/vnd.ms-office.chartcolorstyle+xml"/>
  <Override PartName="/ppt/charts/colors877.xml" ContentType="application/vnd.ms-office.chartcolorstyle+xml"/>
  <Override PartName="/ppt/charts/colors878.xml" ContentType="application/vnd.ms-office.chartcolorstyle+xml"/>
  <Override PartName="/ppt/charts/colors879.xml" ContentType="application/vnd.ms-office.chartcolorstyle+xml"/>
  <Override PartName="/ppt/charts/colors88.xml" ContentType="application/vnd.ms-office.chartcolorstyle+xml"/>
  <Override PartName="/ppt/charts/colors880.xml" ContentType="application/vnd.ms-office.chartcolorstyle+xml"/>
  <Override PartName="/ppt/charts/colors881.xml" ContentType="application/vnd.ms-office.chartcolorstyle+xml"/>
  <Override PartName="/ppt/charts/colors882.xml" ContentType="application/vnd.ms-office.chartcolorstyle+xml"/>
  <Override PartName="/ppt/charts/colors883.xml" ContentType="application/vnd.ms-office.chartcolorstyle+xml"/>
  <Override PartName="/ppt/charts/colors884.xml" ContentType="application/vnd.ms-office.chartcolorstyle+xml"/>
  <Override PartName="/ppt/charts/colors885.xml" ContentType="application/vnd.ms-office.chartcolorstyle+xml"/>
  <Override PartName="/ppt/charts/colors886.xml" ContentType="application/vnd.ms-office.chartcolorstyle+xml"/>
  <Override PartName="/ppt/charts/colors887.xml" ContentType="application/vnd.ms-office.chartcolorstyle+xml"/>
  <Override PartName="/ppt/charts/colors888.xml" ContentType="application/vnd.ms-office.chartcolorstyle+xml"/>
  <Override PartName="/ppt/charts/colors889.xml" ContentType="application/vnd.ms-office.chartcolorstyle+xml"/>
  <Override PartName="/ppt/charts/colors89.xml" ContentType="application/vnd.ms-office.chartcolorstyle+xml"/>
  <Override PartName="/ppt/charts/colors890.xml" ContentType="application/vnd.ms-office.chartcolorstyle+xml"/>
  <Override PartName="/ppt/charts/colors891.xml" ContentType="application/vnd.ms-office.chartcolorstyle+xml"/>
  <Override PartName="/ppt/charts/colors892.xml" ContentType="application/vnd.ms-office.chartcolorstyle+xml"/>
  <Override PartName="/ppt/charts/colors893.xml" ContentType="application/vnd.ms-office.chartcolorstyle+xml"/>
  <Override PartName="/ppt/charts/colors894.xml" ContentType="application/vnd.ms-office.chartcolorstyle+xml"/>
  <Override PartName="/ppt/charts/colors895.xml" ContentType="application/vnd.ms-office.chartcolorstyle+xml"/>
  <Override PartName="/ppt/charts/colors896.xml" ContentType="application/vnd.ms-office.chartcolorstyle+xml"/>
  <Override PartName="/ppt/charts/colors897.xml" ContentType="application/vnd.ms-office.chartcolorstyle+xml"/>
  <Override PartName="/ppt/charts/colors898.xml" ContentType="application/vnd.ms-office.chartcolorstyle+xml"/>
  <Override PartName="/ppt/charts/colors899.xml" ContentType="application/vnd.ms-office.chartcolorstyle+xml"/>
  <Override PartName="/ppt/charts/colors9.xml" ContentType="application/vnd.ms-office.chartcolorstyle+xml"/>
  <Override PartName="/ppt/charts/colors90.xml" ContentType="application/vnd.ms-office.chartcolorstyle+xml"/>
  <Override PartName="/ppt/charts/colors900.xml" ContentType="application/vnd.ms-office.chartcolorstyle+xml"/>
  <Override PartName="/ppt/charts/colors901.xml" ContentType="application/vnd.ms-office.chartcolorstyle+xml"/>
  <Override PartName="/ppt/charts/colors902.xml" ContentType="application/vnd.ms-office.chartcolorstyle+xml"/>
  <Override PartName="/ppt/charts/colors903.xml" ContentType="application/vnd.ms-office.chartcolorstyle+xml"/>
  <Override PartName="/ppt/charts/colors904.xml" ContentType="application/vnd.ms-office.chartcolorstyle+xml"/>
  <Override PartName="/ppt/charts/colors905.xml" ContentType="application/vnd.ms-office.chartcolorstyle+xml"/>
  <Override PartName="/ppt/charts/colors906.xml" ContentType="application/vnd.ms-office.chartcolorstyle+xml"/>
  <Override PartName="/ppt/charts/colors907.xml" ContentType="application/vnd.ms-office.chartcolorstyle+xml"/>
  <Override PartName="/ppt/charts/colors908.xml" ContentType="application/vnd.ms-office.chartcolorstyle+xml"/>
  <Override PartName="/ppt/charts/colors909.xml" ContentType="application/vnd.ms-office.chartcolorstyle+xml"/>
  <Override PartName="/ppt/charts/colors91.xml" ContentType="application/vnd.ms-office.chartcolorstyle+xml"/>
  <Override PartName="/ppt/charts/colors910.xml" ContentType="application/vnd.ms-office.chartcolorstyle+xml"/>
  <Override PartName="/ppt/charts/colors911.xml" ContentType="application/vnd.ms-office.chartcolorstyle+xml"/>
  <Override PartName="/ppt/charts/colors912.xml" ContentType="application/vnd.ms-office.chartcolorstyle+xml"/>
  <Override PartName="/ppt/charts/colors913.xml" ContentType="application/vnd.ms-office.chartcolorstyle+xml"/>
  <Override PartName="/ppt/charts/colors914.xml" ContentType="application/vnd.ms-office.chartcolorstyle+xml"/>
  <Override PartName="/ppt/charts/colors915.xml" ContentType="application/vnd.ms-office.chartcolorstyle+xml"/>
  <Override PartName="/ppt/charts/colors916.xml" ContentType="application/vnd.ms-office.chartcolorstyle+xml"/>
  <Override PartName="/ppt/charts/colors917.xml" ContentType="application/vnd.ms-office.chartcolorstyle+xml"/>
  <Override PartName="/ppt/charts/colors918.xml" ContentType="application/vnd.ms-office.chartcolorstyle+xml"/>
  <Override PartName="/ppt/charts/colors919.xml" ContentType="application/vnd.ms-office.chartcolorstyle+xml"/>
  <Override PartName="/ppt/charts/colors92.xml" ContentType="application/vnd.ms-office.chartcolorstyle+xml"/>
  <Override PartName="/ppt/charts/colors920.xml" ContentType="application/vnd.ms-office.chartcolorstyle+xml"/>
  <Override PartName="/ppt/charts/colors921.xml" ContentType="application/vnd.ms-office.chartcolorstyle+xml"/>
  <Override PartName="/ppt/charts/colors922.xml" ContentType="application/vnd.ms-office.chartcolorstyle+xml"/>
  <Override PartName="/ppt/charts/colors923.xml" ContentType="application/vnd.ms-office.chartcolorstyle+xml"/>
  <Override PartName="/ppt/charts/colors924.xml" ContentType="application/vnd.ms-office.chartcolorstyle+xml"/>
  <Override PartName="/ppt/charts/colors925.xml" ContentType="application/vnd.ms-office.chartcolorstyle+xml"/>
  <Override PartName="/ppt/charts/colors926.xml" ContentType="application/vnd.ms-office.chartcolorstyle+xml"/>
  <Override PartName="/ppt/charts/colors927.xml" ContentType="application/vnd.ms-office.chartcolorstyle+xml"/>
  <Override PartName="/ppt/charts/colors928.xml" ContentType="application/vnd.ms-office.chartcolorstyle+xml"/>
  <Override PartName="/ppt/charts/colors929.xml" ContentType="application/vnd.ms-office.chartcolorstyle+xml"/>
  <Override PartName="/ppt/charts/colors93.xml" ContentType="application/vnd.ms-office.chartcolorstyle+xml"/>
  <Override PartName="/ppt/charts/colors930.xml" ContentType="application/vnd.ms-office.chartcolorstyle+xml"/>
  <Override PartName="/ppt/charts/colors931.xml" ContentType="application/vnd.ms-office.chartcolorstyle+xml"/>
  <Override PartName="/ppt/charts/colors932.xml" ContentType="application/vnd.ms-office.chartcolorstyle+xml"/>
  <Override PartName="/ppt/charts/colors933.xml" ContentType="application/vnd.ms-office.chartcolorstyle+xml"/>
  <Override PartName="/ppt/charts/colors934.xml" ContentType="application/vnd.ms-office.chartcolorstyle+xml"/>
  <Override PartName="/ppt/charts/colors935.xml" ContentType="application/vnd.ms-office.chartcolorstyle+xml"/>
  <Override PartName="/ppt/charts/colors936.xml" ContentType="application/vnd.ms-office.chartcolorstyle+xml"/>
  <Override PartName="/ppt/charts/colors937.xml" ContentType="application/vnd.ms-office.chartcolorstyle+xml"/>
  <Override PartName="/ppt/charts/colors938.xml" ContentType="application/vnd.ms-office.chartcolorstyle+xml"/>
  <Override PartName="/ppt/charts/colors939.xml" ContentType="application/vnd.ms-office.chartcolorstyle+xml"/>
  <Override PartName="/ppt/charts/colors94.xml" ContentType="application/vnd.ms-office.chartcolorstyle+xml"/>
  <Override PartName="/ppt/charts/colors940.xml" ContentType="application/vnd.ms-office.chartcolorstyle+xml"/>
  <Override PartName="/ppt/charts/colors941.xml" ContentType="application/vnd.ms-office.chartcolorstyle+xml"/>
  <Override PartName="/ppt/charts/colors942.xml" ContentType="application/vnd.ms-office.chartcolorstyle+xml"/>
  <Override PartName="/ppt/charts/colors943.xml" ContentType="application/vnd.ms-office.chartcolorstyle+xml"/>
  <Override PartName="/ppt/charts/colors944.xml" ContentType="application/vnd.ms-office.chartcolorstyle+xml"/>
  <Override PartName="/ppt/charts/colors945.xml" ContentType="application/vnd.ms-office.chartcolorstyle+xml"/>
  <Override PartName="/ppt/charts/colors946.xml" ContentType="application/vnd.ms-office.chartcolorstyle+xml"/>
  <Override PartName="/ppt/charts/colors947.xml" ContentType="application/vnd.ms-office.chartcolorstyle+xml"/>
  <Override PartName="/ppt/charts/colors948.xml" ContentType="application/vnd.ms-office.chartcolorstyle+xml"/>
  <Override PartName="/ppt/charts/colors949.xml" ContentType="application/vnd.ms-office.chartcolorstyle+xml"/>
  <Override PartName="/ppt/charts/colors95.xml" ContentType="application/vnd.ms-office.chartcolorstyle+xml"/>
  <Override PartName="/ppt/charts/colors950.xml" ContentType="application/vnd.ms-office.chartcolorstyle+xml"/>
  <Override PartName="/ppt/charts/colors951.xml" ContentType="application/vnd.ms-office.chartcolorstyle+xml"/>
  <Override PartName="/ppt/charts/colors952.xml" ContentType="application/vnd.ms-office.chartcolorstyle+xml"/>
  <Override PartName="/ppt/charts/colors953.xml" ContentType="application/vnd.ms-office.chartcolorstyle+xml"/>
  <Override PartName="/ppt/charts/colors954.xml" ContentType="application/vnd.ms-office.chartcolorstyle+xml"/>
  <Override PartName="/ppt/charts/colors955.xml" ContentType="application/vnd.ms-office.chartcolorstyle+xml"/>
  <Override PartName="/ppt/charts/colors956.xml" ContentType="application/vnd.ms-office.chartcolorstyle+xml"/>
  <Override PartName="/ppt/charts/colors957.xml" ContentType="application/vnd.ms-office.chartcolorstyle+xml"/>
  <Override PartName="/ppt/charts/colors958.xml" ContentType="application/vnd.ms-office.chartcolorstyle+xml"/>
  <Override PartName="/ppt/charts/colors959.xml" ContentType="application/vnd.ms-office.chartcolorstyle+xml"/>
  <Override PartName="/ppt/charts/colors96.xml" ContentType="application/vnd.ms-office.chartcolorstyle+xml"/>
  <Override PartName="/ppt/charts/colors960.xml" ContentType="application/vnd.ms-office.chartcolorstyle+xml"/>
  <Override PartName="/ppt/charts/colors961.xml" ContentType="application/vnd.ms-office.chartcolorstyle+xml"/>
  <Override PartName="/ppt/charts/colors962.xml" ContentType="application/vnd.ms-office.chartcolorstyle+xml"/>
  <Override PartName="/ppt/charts/colors963.xml" ContentType="application/vnd.ms-office.chartcolorstyle+xml"/>
  <Override PartName="/ppt/charts/colors964.xml" ContentType="application/vnd.ms-office.chartcolorstyle+xml"/>
  <Override PartName="/ppt/charts/colors965.xml" ContentType="application/vnd.ms-office.chartcolorstyle+xml"/>
  <Override PartName="/ppt/charts/colors966.xml" ContentType="application/vnd.ms-office.chartcolorstyle+xml"/>
  <Override PartName="/ppt/charts/colors967.xml" ContentType="application/vnd.ms-office.chartcolorstyle+xml"/>
  <Override PartName="/ppt/charts/colors968.xml" ContentType="application/vnd.ms-office.chartcolorstyle+xml"/>
  <Override PartName="/ppt/charts/colors969.xml" ContentType="application/vnd.ms-office.chartcolorstyle+xml"/>
  <Override PartName="/ppt/charts/colors97.xml" ContentType="application/vnd.ms-office.chartcolorstyle+xml"/>
  <Override PartName="/ppt/charts/colors970.xml" ContentType="application/vnd.ms-office.chartcolorstyle+xml"/>
  <Override PartName="/ppt/charts/colors971.xml" ContentType="application/vnd.ms-office.chartcolorstyle+xml"/>
  <Override PartName="/ppt/charts/colors972.xml" ContentType="application/vnd.ms-office.chartcolorstyle+xml"/>
  <Override PartName="/ppt/charts/colors973.xml" ContentType="application/vnd.ms-office.chartcolorstyle+xml"/>
  <Override PartName="/ppt/charts/colors974.xml" ContentType="application/vnd.ms-office.chartcolorstyle+xml"/>
  <Override PartName="/ppt/charts/colors975.xml" ContentType="application/vnd.ms-office.chartcolorstyle+xml"/>
  <Override PartName="/ppt/charts/colors976.xml" ContentType="application/vnd.ms-office.chartcolorstyle+xml"/>
  <Override PartName="/ppt/charts/colors977.xml" ContentType="application/vnd.ms-office.chartcolorstyle+xml"/>
  <Override PartName="/ppt/charts/colors978.xml" ContentType="application/vnd.ms-office.chartcolorstyle+xml"/>
  <Override PartName="/ppt/charts/colors979.xml" ContentType="application/vnd.ms-office.chartcolorstyle+xml"/>
  <Override PartName="/ppt/charts/colors98.xml" ContentType="application/vnd.ms-office.chartcolorstyle+xml"/>
  <Override PartName="/ppt/charts/colors980.xml" ContentType="application/vnd.ms-office.chartcolorstyle+xml"/>
  <Override PartName="/ppt/charts/colors981.xml" ContentType="application/vnd.ms-office.chartcolorstyle+xml"/>
  <Override PartName="/ppt/charts/colors982.xml" ContentType="application/vnd.ms-office.chartcolorstyle+xml"/>
  <Override PartName="/ppt/charts/colors983.xml" ContentType="application/vnd.ms-office.chartcolorstyle+xml"/>
  <Override PartName="/ppt/charts/colors984.xml" ContentType="application/vnd.ms-office.chartcolorstyle+xml"/>
  <Override PartName="/ppt/charts/colors985.xml" ContentType="application/vnd.ms-office.chartcolorstyle+xml"/>
  <Override PartName="/ppt/charts/colors986.xml" ContentType="application/vnd.ms-office.chartcolorstyle+xml"/>
  <Override PartName="/ppt/charts/colors987.xml" ContentType="application/vnd.ms-office.chartcolorstyle+xml"/>
  <Override PartName="/ppt/charts/colors988.xml" ContentType="application/vnd.ms-office.chartcolorstyle+xml"/>
  <Override PartName="/ppt/charts/colors989.xml" ContentType="application/vnd.ms-office.chartcolorstyle+xml"/>
  <Override PartName="/ppt/charts/colors99.xml" ContentType="application/vnd.ms-office.chartcolorstyle+xml"/>
  <Override PartName="/ppt/charts/colors990.xml" ContentType="application/vnd.ms-office.chartcolorstyle+xml"/>
  <Override PartName="/ppt/charts/colors991.xml" ContentType="application/vnd.ms-office.chartcolorstyle+xml"/>
  <Override PartName="/ppt/charts/colors992.xml" ContentType="application/vnd.ms-office.chartcolorstyle+xml"/>
  <Override PartName="/ppt/charts/colors993.xml" ContentType="application/vnd.ms-office.chartcolorstyle+xml"/>
  <Override PartName="/ppt/charts/colors994.xml" ContentType="application/vnd.ms-office.chartcolorstyle+xml"/>
  <Override PartName="/ppt/charts/colors995.xml" ContentType="application/vnd.ms-office.chartcolorstyle+xml"/>
  <Override PartName="/ppt/charts/colors996.xml" ContentType="application/vnd.ms-office.chartcolorstyle+xml"/>
  <Override PartName="/ppt/charts/colors997.xml" ContentType="application/vnd.ms-office.chartcolorstyle+xml"/>
  <Override PartName="/ppt/charts/colors998.xml" ContentType="application/vnd.ms-office.chartcolorstyle+xml"/>
  <Override PartName="/ppt/charts/colors9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00.xml" ContentType="application/vnd.ms-office.chartstyle+xml"/>
  <Override PartName="/ppt/charts/style1001.xml" ContentType="application/vnd.ms-office.chartstyle+xml"/>
  <Override PartName="/ppt/charts/style1002.xml" ContentType="application/vnd.ms-office.chartstyle+xml"/>
  <Override PartName="/ppt/charts/style1003.xml" ContentType="application/vnd.ms-office.chartstyle+xml"/>
  <Override PartName="/ppt/charts/style1004.xml" ContentType="application/vnd.ms-office.chartstyle+xml"/>
  <Override PartName="/ppt/charts/style1005.xml" ContentType="application/vnd.ms-office.chartstyle+xml"/>
  <Override PartName="/ppt/charts/style1006.xml" ContentType="application/vnd.ms-office.chartstyle+xml"/>
  <Override PartName="/ppt/charts/style1007.xml" ContentType="application/vnd.ms-office.chartstyle+xml"/>
  <Override PartName="/ppt/charts/style1008.xml" ContentType="application/vnd.ms-office.chartstyle+xml"/>
  <Override PartName="/ppt/charts/style1009.xml" ContentType="application/vnd.ms-office.chartstyle+xml"/>
  <Override PartName="/ppt/charts/style101.xml" ContentType="application/vnd.ms-office.chartstyle+xml"/>
  <Override PartName="/ppt/charts/style1010.xml" ContentType="application/vnd.ms-office.chartstyle+xml"/>
  <Override PartName="/ppt/charts/style1011.xml" ContentType="application/vnd.ms-office.chartstyle+xml"/>
  <Override PartName="/ppt/charts/style1012.xml" ContentType="application/vnd.ms-office.chartstyle+xml"/>
  <Override PartName="/ppt/charts/style1013.xml" ContentType="application/vnd.ms-office.chartstyle+xml"/>
  <Override PartName="/ppt/charts/style1014.xml" ContentType="application/vnd.ms-office.chartstyle+xml"/>
  <Override PartName="/ppt/charts/style1015.xml" ContentType="application/vnd.ms-office.chartstyle+xml"/>
  <Override PartName="/ppt/charts/style1016.xml" ContentType="application/vnd.ms-office.chartstyle+xml"/>
  <Override PartName="/ppt/charts/style1017.xml" ContentType="application/vnd.ms-office.chartstyle+xml"/>
  <Override PartName="/ppt/charts/style1018.xml" ContentType="application/vnd.ms-office.chartstyle+xml"/>
  <Override PartName="/ppt/charts/style1019.xml" ContentType="application/vnd.ms-office.chartstyle+xml"/>
  <Override PartName="/ppt/charts/style102.xml" ContentType="application/vnd.ms-office.chartstyle+xml"/>
  <Override PartName="/ppt/charts/style1020.xml" ContentType="application/vnd.ms-office.chartstyle+xml"/>
  <Override PartName="/ppt/charts/style1021.xml" ContentType="application/vnd.ms-office.chartstyle+xml"/>
  <Override PartName="/ppt/charts/style1022.xml" ContentType="application/vnd.ms-office.chartstyle+xml"/>
  <Override PartName="/ppt/charts/style1023.xml" ContentType="application/vnd.ms-office.chartstyle+xml"/>
  <Override PartName="/ppt/charts/style1024.xml" ContentType="application/vnd.ms-office.chartstyle+xml"/>
  <Override PartName="/ppt/charts/style1025.xml" ContentType="application/vnd.ms-office.chartstyle+xml"/>
  <Override PartName="/ppt/charts/style1026.xml" ContentType="application/vnd.ms-office.chartstyle+xml"/>
  <Override PartName="/ppt/charts/style1027.xml" ContentType="application/vnd.ms-office.chartstyle+xml"/>
  <Override PartName="/ppt/charts/style1028.xml" ContentType="application/vnd.ms-office.chartstyle+xml"/>
  <Override PartName="/ppt/charts/style1029.xml" ContentType="application/vnd.ms-office.chartstyle+xml"/>
  <Override PartName="/ppt/charts/style103.xml" ContentType="application/vnd.ms-office.chartstyle+xml"/>
  <Override PartName="/ppt/charts/style1030.xml" ContentType="application/vnd.ms-office.chartstyle+xml"/>
  <Override PartName="/ppt/charts/style1031.xml" ContentType="application/vnd.ms-office.chartstyle+xml"/>
  <Override PartName="/ppt/charts/style1032.xml" ContentType="application/vnd.ms-office.chartstyle+xml"/>
  <Override PartName="/ppt/charts/style1033.xml" ContentType="application/vnd.ms-office.chartstyle+xml"/>
  <Override PartName="/ppt/charts/style1034.xml" ContentType="application/vnd.ms-office.chartstyle+xml"/>
  <Override PartName="/ppt/charts/style1035.xml" ContentType="application/vnd.ms-office.chartstyle+xml"/>
  <Override PartName="/ppt/charts/style1036.xml" ContentType="application/vnd.ms-office.chartstyle+xml"/>
  <Override PartName="/ppt/charts/style1037.xml" ContentType="application/vnd.ms-office.chartstyle+xml"/>
  <Override PartName="/ppt/charts/style1038.xml" ContentType="application/vnd.ms-office.chartstyle+xml"/>
  <Override PartName="/ppt/charts/style1039.xml" ContentType="application/vnd.ms-office.chartstyle+xml"/>
  <Override PartName="/ppt/charts/style104.xml" ContentType="application/vnd.ms-office.chartstyle+xml"/>
  <Override PartName="/ppt/charts/style1040.xml" ContentType="application/vnd.ms-office.chartstyle+xml"/>
  <Override PartName="/ppt/charts/style1041.xml" ContentType="application/vnd.ms-office.chartstyle+xml"/>
  <Override PartName="/ppt/charts/style1042.xml" ContentType="application/vnd.ms-office.chartstyle+xml"/>
  <Override PartName="/ppt/charts/style1043.xml" ContentType="application/vnd.ms-office.chartstyle+xml"/>
  <Override PartName="/ppt/charts/style1044.xml" ContentType="application/vnd.ms-office.chartstyle+xml"/>
  <Override PartName="/ppt/charts/style1045.xml" ContentType="application/vnd.ms-office.chartstyle+xml"/>
  <Override PartName="/ppt/charts/style1046.xml" ContentType="application/vnd.ms-office.chartstyle+xml"/>
  <Override PartName="/ppt/charts/style1047.xml" ContentType="application/vnd.ms-office.chartstyle+xml"/>
  <Override PartName="/ppt/charts/style1048.xml" ContentType="application/vnd.ms-office.chartstyle+xml"/>
  <Override PartName="/ppt/charts/style1049.xml" ContentType="application/vnd.ms-office.chartstyle+xml"/>
  <Override PartName="/ppt/charts/style105.xml" ContentType="application/vnd.ms-office.chartstyle+xml"/>
  <Override PartName="/ppt/charts/style1050.xml" ContentType="application/vnd.ms-office.chartstyle+xml"/>
  <Override PartName="/ppt/charts/style1051.xml" ContentType="application/vnd.ms-office.chartstyle+xml"/>
  <Override PartName="/ppt/charts/style1052.xml" ContentType="application/vnd.ms-office.chartstyle+xml"/>
  <Override PartName="/ppt/charts/style1053.xml" ContentType="application/vnd.ms-office.chartstyle+xml"/>
  <Override PartName="/ppt/charts/style1054.xml" ContentType="application/vnd.ms-office.chartstyle+xml"/>
  <Override PartName="/ppt/charts/style1055.xml" ContentType="application/vnd.ms-office.chartstyle+xml"/>
  <Override PartName="/ppt/charts/style1056.xml" ContentType="application/vnd.ms-office.chartstyle+xml"/>
  <Override PartName="/ppt/charts/style1057.xml" ContentType="application/vnd.ms-office.chartstyle+xml"/>
  <Override PartName="/ppt/charts/style1058.xml" ContentType="application/vnd.ms-office.chartstyle+xml"/>
  <Override PartName="/ppt/charts/style1059.xml" ContentType="application/vnd.ms-office.chartstyle+xml"/>
  <Override PartName="/ppt/charts/style106.xml" ContentType="application/vnd.ms-office.chartstyle+xml"/>
  <Override PartName="/ppt/charts/style1060.xml" ContentType="application/vnd.ms-office.chartstyle+xml"/>
  <Override PartName="/ppt/charts/style1061.xml" ContentType="application/vnd.ms-office.chartstyle+xml"/>
  <Override PartName="/ppt/charts/style1062.xml" ContentType="application/vnd.ms-office.chartstyle+xml"/>
  <Override PartName="/ppt/charts/style1063.xml" ContentType="application/vnd.ms-office.chartstyle+xml"/>
  <Override PartName="/ppt/charts/style1064.xml" ContentType="application/vnd.ms-office.chartstyle+xml"/>
  <Override PartName="/ppt/charts/style1065.xml" ContentType="application/vnd.ms-office.chartstyle+xml"/>
  <Override PartName="/ppt/charts/style1066.xml" ContentType="application/vnd.ms-office.chartstyle+xml"/>
  <Override PartName="/ppt/charts/style1067.xml" ContentType="application/vnd.ms-office.chartstyle+xml"/>
  <Override PartName="/ppt/charts/style1068.xml" ContentType="application/vnd.ms-office.chartstyle+xml"/>
  <Override PartName="/ppt/charts/style1069.xml" ContentType="application/vnd.ms-office.chartstyle+xml"/>
  <Override PartName="/ppt/charts/style107.xml" ContentType="application/vnd.ms-office.chartstyle+xml"/>
  <Override PartName="/ppt/charts/style1070.xml" ContentType="application/vnd.ms-office.chartstyle+xml"/>
  <Override PartName="/ppt/charts/style1071.xml" ContentType="application/vnd.ms-office.chartstyle+xml"/>
  <Override PartName="/ppt/charts/style1072.xml" ContentType="application/vnd.ms-office.chartstyle+xml"/>
  <Override PartName="/ppt/charts/style1073.xml" ContentType="application/vnd.ms-office.chartstyle+xml"/>
  <Override PartName="/ppt/charts/style1074.xml" ContentType="application/vnd.ms-office.chartstyle+xml"/>
  <Override PartName="/ppt/charts/style1075.xml" ContentType="application/vnd.ms-office.chartstyle+xml"/>
  <Override PartName="/ppt/charts/style1076.xml" ContentType="application/vnd.ms-office.chartstyle+xml"/>
  <Override PartName="/ppt/charts/style1077.xml" ContentType="application/vnd.ms-office.chartstyle+xml"/>
  <Override PartName="/ppt/charts/style1078.xml" ContentType="application/vnd.ms-office.chartstyle+xml"/>
  <Override PartName="/ppt/charts/style1079.xml" ContentType="application/vnd.ms-office.chartstyle+xml"/>
  <Override PartName="/ppt/charts/style108.xml" ContentType="application/vnd.ms-office.chartstyle+xml"/>
  <Override PartName="/ppt/charts/style1080.xml" ContentType="application/vnd.ms-office.chartstyle+xml"/>
  <Override PartName="/ppt/charts/style1081.xml" ContentType="application/vnd.ms-office.chartstyle+xml"/>
  <Override PartName="/ppt/charts/style1082.xml" ContentType="application/vnd.ms-office.chartstyle+xml"/>
  <Override PartName="/ppt/charts/style1083.xml" ContentType="application/vnd.ms-office.chartstyle+xml"/>
  <Override PartName="/ppt/charts/style1084.xml" ContentType="application/vnd.ms-office.chartstyle+xml"/>
  <Override PartName="/ppt/charts/style1085.xml" ContentType="application/vnd.ms-office.chartstyle+xml"/>
  <Override PartName="/ppt/charts/style1086.xml" ContentType="application/vnd.ms-office.chartstyle+xml"/>
  <Override PartName="/ppt/charts/style1087.xml" ContentType="application/vnd.ms-office.chartstyle+xml"/>
  <Override PartName="/ppt/charts/style1088.xml" ContentType="application/vnd.ms-office.chartstyle+xml"/>
  <Override PartName="/ppt/charts/style1089.xml" ContentType="application/vnd.ms-office.chartstyle+xml"/>
  <Override PartName="/ppt/charts/style109.xml" ContentType="application/vnd.ms-office.chartstyle+xml"/>
  <Override PartName="/ppt/charts/style1090.xml" ContentType="application/vnd.ms-office.chartstyle+xml"/>
  <Override PartName="/ppt/charts/style1091.xml" ContentType="application/vnd.ms-office.chartstyle+xml"/>
  <Override PartName="/ppt/charts/style1092.xml" ContentType="application/vnd.ms-office.chartstyle+xml"/>
  <Override PartName="/ppt/charts/style1093.xml" ContentType="application/vnd.ms-office.chartstyle+xml"/>
  <Override PartName="/ppt/charts/style1094.xml" ContentType="application/vnd.ms-office.chartstyle+xml"/>
  <Override PartName="/ppt/charts/style1095.xml" ContentType="application/vnd.ms-office.chartstyle+xml"/>
  <Override PartName="/ppt/charts/style1096.xml" ContentType="application/vnd.ms-office.chartstyle+xml"/>
  <Override PartName="/ppt/charts/style1097.xml" ContentType="application/vnd.ms-office.chartstyle+xml"/>
  <Override PartName="/ppt/charts/style1098.xml" ContentType="application/vnd.ms-office.chartstyle+xml"/>
  <Override PartName="/ppt/charts/style1099.xml" ContentType="application/vnd.ms-office.chartstyle+xml"/>
  <Override PartName="/ppt/charts/style11.xml" ContentType="application/vnd.ms-office.chartstyle+xml"/>
  <Override PartName="/ppt/charts/style110.xml" ContentType="application/vnd.ms-office.chartstyle+xml"/>
  <Override PartName="/ppt/charts/style1100.xml" ContentType="application/vnd.ms-office.chartstyle+xml"/>
  <Override PartName="/ppt/charts/style1101.xml" ContentType="application/vnd.ms-office.chartstyle+xml"/>
  <Override PartName="/ppt/charts/style1102.xml" ContentType="application/vnd.ms-office.chartstyle+xml"/>
  <Override PartName="/ppt/charts/style1103.xml" ContentType="application/vnd.ms-office.chartstyle+xml"/>
  <Override PartName="/ppt/charts/style1104.xml" ContentType="application/vnd.ms-office.chartstyle+xml"/>
  <Override PartName="/ppt/charts/style1105.xml" ContentType="application/vnd.ms-office.chartstyle+xml"/>
  <Override PartName="/ppt/charts/style1106.xml" ContentType="application/vnd.ms-office.chartstyle+xml"/>
  <Override PartName="/ppt/charts/style1107.xml" ContentType="application/vnd.ms-office.chartstyle+xml"/>
  <Override PartName="/ppt/charts/style1108.xml" ContentType="application/vnd.ms-office.chartstyle+xml"/>
  <Override PartName="/ppt/charts/style1109.xml" ContentType="application/vnd.ms-office.chartstyle+xml"/>
  <Override PartName="/ppt/charts/style111.xml" ContentType="application/vnd.ms-office.chartstyle+xml"/>
  <Override PartName="/ppt/charts/style1110.xml" ContentType="application/vnd.ms-office.chartstyle+xml"/>
  <Override PartName="/ppt/charts/style1111.xml" ContentType="application/vnd.ms-office.chartstyle+xml"/>
  <Override PartName="/ppt/charts/style1112.xml" ContentType="application/vnd.ms-office.chartstyle+xml"/>
  <Override PartName="/ppt/charts/style1113.xml" ContentType="application/vnd.ms-office.chartstyle+xml"/>
  <Override PartName="/ppt/charts/style1114.xml" ContentType="application/vnd.ms-office.chartstyle+xml"/>
  <Override PartName="/ppt/charts/style1115.xml" ContentType="application/vnd.ms-office.chartstyle+xml"/>
  <Override PartName="/ppt/charts/style1116.xml" ContentType="application/vnd.ms-office.chartstyle+xml"/>
  <Override PartName="/ppt/charts/style1117.xml" ContentType="application/vnd.ms-office.chartstyle+xml"/>
  <Override PartName="/ppt/charts/style1118.xml" ContentType="application/vnd.ms-office.chartstyle+xml"/>
  <Override PartName="/ppt/charts/style1119.xml" ContentType="application/vnd.ms-office.chartstyle+xml"/>
  <Override PartName="/ppt/charts/style112.xml" ContentType="application/vnd.ms-office.chartstyle+xml"/>
  <Override PartName="/ppt/charts/style1120.xml" ContentType="application/vnd.ms-office.chartstyle+xml"/>
  <Override PartName="/ppt/charts/style1121.xml" ContentType="application/vnd.ms-office.chartstyle+xml"/>
  <Override PartName="/ppt/charts/style1122.xml" ContentType="application/vnd.ms-office.chartstyle+xml"/>
  <Override PartName="/ppt/charts/style1123.xml" ContentType="application/vnd.ms-office.chartstyle+xml"/>
  <Override PartName="/ppt/charts/style1124.xml" ContentType="application/vnd.ms-office.chartstyle+xml"/>
  <Override PartName="/ppt/charts/style1125.xml" ContentType="application/vnd.ms-office.chartstyle+xml"/>
  <Override PartName="/ppt/charts/style1126.xml" ContentType="application/vnd.ms-office.chartstyle+xml"/>
  <Override PartName="/ppt/charts/style1127.xml" ContentType="application/vnd.ms-office.chartstyle+xml"/>
  <Override PartName="/ppt/charts/style1128.xml" ContentType="application/vnd.ms-office.chartstyle+xml"/>
  <Override PartName="/ppt/charts/style1129.xml" ContentType="application/vnd.ms-office.chartstyle+xml"/>
  <Override PartName="/ppt/charts/style113.xml" ContentType="application/vnd.ms-office.chartstyle+xml"/>
  <Override PartName="/ppt/charts/style1130.xml" ContentType="application/vnd.ms-office.chartstyle+xml"/>
  <Override PartName="/ppt/charts/style1131.xml" ContentType="application/vnd.ms-office.chartstyle+xml"/>
  <Override PartName="/ppt/charts/style1132.xml" ContentType="application/vnd.ms-office.chartstyle+xml"/>
  <Override PartName="/ppt/charts/style1133.xml" ContentType="application/vnd.ms-office.chartstyle+xml"/>
  <Override PartName="/ppt/charts/style1134.xml" ContentType="application/vnd.ms-office.chartstyle+xml"/>
  <Override PartName="/ppt/charts/style1135.xml" ContentType="application/vnd.ms-office.chartstyle+xml"/>
  <Override PartName="/ppt/charts/style1136.xml" ContentType="application/vnd.ms-office.chartstyle+xml"/>
  <Override PartName="/ppt/charts/style1137.xml" ContentType="application/vnd.ms-office.chartstyle+xml"/>
  <Override PartName="/ppt/charts/style1138.xml" ContentType="application/vnd.ms-office.chartstyle+xml"/>
  <Override PartName="/ppt/charts/style1139.xml" ContentType="application/vnd.ms-office.chartstyle+xml"/>
  <Override PartName="/ppt/charts/style114.xml" ContentType="application/vnd.ms-office.chartstyle+xml"/>
  <Override PartName="/ppt/charts/style1140.xml" ContentType="application/vnd.ms-office.chartstyle+xml"/>
  <Override PartName="/ppt/charts/style1141.xml" ContentType="application/vnd.ms-office.chartstyle+xml"/>
  <Override PartName="/ppt/charts/style1142.xml" ContentType="application/vnd.ms-office.chartstyle+xml"/>
  <Override PartName="/ppt/charts/style1143.xml" ContentType="application/vnd.ms-office.chartstyle+xml"/>
  <Override PartName="/ppt/charts/style1144.xml" ContentType="application/vnd.ms-office.chartstyle+xml"/>
  <Override PartName="/ppt/charts/style1145.xml" ContentType="application/vnd.ms-office.chartstyle+xml"/>
  <Override PartName="/ppt/charts/style1146.xml" ContentType="application/vnd.ms-office.chartstyle+xml"/>
  <Override PartName="/ppt/charts/style1147.xml" ContentType="application/vnd.ms-office.chartstyle+xml"/>
  <Override PartName="/ppt/charts/style1148.xml" ContentType="application/vnd.ms-office.chartstyle+xml"/>
  <Override PartName="/ppt/charts/style1149.xml" ContentType="application/vnd.ms-office.chartstyle+xml"/>
  <Override PartName="/ppt/charts/style115.xml" ContentType="application/vnd.ms-office.chartstyle+xml"/>
  <Override PartName="/ppt/charts/style1150.xml" ContentType="application/vnd.ms-office.chartstyle+xml"/>
  <Override PartName="/ppt/charts/style1151.xml" ContentType="application/vnd.ms-office.chartstyle+xml"/>
  <Override PartName="/ppt/charts/style1152.xml" ContentType="application/vnd.ms-office.chartstyle+xml"/>
  <Override PartName="/ppt/charts/style1153.xml" ContentType="application/vnd.ms-office.chartstyle+xml"/>
  <Override PartName="/ppt/charts/style1154.xml" ContentType="application/vnd.ms-office.chartstyle+xml"/>
  <Override PartName="/ppt/charts/style1155.xml" ContentType="application/vnd.ms-office.chartstyle+xml"/>
  <Override PartName="/ppt/charts/style1156.xml" ContentType="application/vnd.ms-office.chartstyle+xml"/>
  <Override PartName="/ppt/charts/style1157.xml" ContentType="application/vnd.ms-office.chartstyle+xml"/>
  <Override PartName="/ppt/charts/style1158.xml" ContentType="application/vnd.ms-office.chartstyle+xml"/>
  <Override PartName="/ppt/charts/style1159.xml" ContentType="application/vnd.ms-office.chartstyle+xml"/>
  <Override PartName="/ppt/charts/style116.xml" ContentType="application/vnd.ms-office.chartstyle+xml"/>
  <Override PartName="/ppt/charts/style1160.xml" ContentType="application/vnd.ms-office.chartstyle+xml"/>
  <Override PartName="/ppt/charts/style1161.xml" ContentType="application/vnd.ms-office.chartstyle+xml"/>
  <Override PartName="/ppt/charts/style1162.xml" ContentType="application/vnd.ms-office.chartstyle+xml"/>
  <Override PartName="/ppt/charts/style1163.xml" ContentType="application/vnd.ms-office.chartstyle+xml"/>
  <Override PartName="/ppt/charts/style1164.xml" ContentType="application/vnd.ms-office.chartstyle+xml"/>
  <Override PartName="/ppt/charts/style1165.xml" ContentType="application/vnd.ms-office.chartstyle+xml"/>
  <Override PartName="/ppt/charts/style1166.xml" ContentType="application/vnd.ms-office.chartstyle+xml"/>
  <Override PartName="/ppt/charts/style1167.xml" ContentType="application/vnd.ms-office.chartstyle+xml"/>
  <Override PartName="/ppt/charts/style1168.xml" ContentType="application/vnd.ms-office.chartstyle+xml"/>
  <Override PartName="/ppt/charts/style1169.xml" ContentType="application/vnd.ms-office.chartstyle+xml"/>
  <Override PartName="/ppt/charts/style117.xml" ContentType="application/vnd.ms-office.chartstyle+xml"/>
  <Override PartName="/ppt/charts/style1170.xml" ContentType="application/vnd.ms-office.chartstyle+xml"/>
  <Override PartName="/ppt/charts/style1171.xml" ContentType="application/vnd.ms-office.chartstyle+xml"/>
  <Override PartName="/ppt/charts/style1172.xml" ContentType="application/vnd.ms-office.chartstyle+xml"/>
  <Override PartName="/ppt/charts/style1173.xml" ContentType="application/vnd.ms-office.chartstyle+xml"/>
  <Override PartName="/ppt/charts/style1174.xml" ContentType="application/vnd.ms-office.chartstyle+xml"/>
  <Override PartName="/ppt/charts/style1175.xml" ContentType="application/vnd.ms-office.chartstyle+xml"/>
  <Override PartName="/ppt/charts/style1176.xml" ContentType="application/vnd.ms-office.chartstyle+xml"/>
  <Override PartName="/ppt/charts/style1177.xml" ContentType="application/vnd.ms-office.chartstyle+xml"/>
  <Override PartName="/ppt/charts/style1178.xml" ContentType="application/vnd.ms-office.chartstyle+xml"/>
  <Override PartName="/ppt/charts/style1179.xml" ContentType="application/vnd.ms-office.chartstyle+xml"/>
  <Override PartName="/ppt/charts/style118.xml" ContentType="application/vnd.ms-office.chartstyle+xml"/>
  <Override PartName="/ppt/charts/style1180.xml" ContentType="application/vnd.ms-office.chartstyle+xml"/>
  <Override PartName="/ppt/charts/style1181.xml" ContentType="application/vnd.ms-office.chartstyle+xml"/>
  <Override PartName="/ppt/charts/style1182.xml" ContentType="application/vnd.ms-office.chartstyle+xml"/>
  <Override PartName="/ppt/charts/style1183.xml" ContentType="application/vnd.ms-office.chartstyle+xml"/>
  <Override PartName="/ppt/charts/style1184.xml" ContentType="application/vnd.ms-office.chartstyle+xml"/>
  <Override PartName="/ppt/charts/style1185.xml" ContentType="application/vnd.ms-office.chartstyle+xml"/>
  <Override PartName="/ppt/charts/style1186.xml" ContentType="application/vnd.ms-office.chartstyle+xml"/>
  <Override PartName="/ppt/charts/style1187.xml" ContentType="application/vnd.ms-office.chartstyle+xml"/>
  <Override PartName="/ppt/charts/style1188.xml" ContentType="application/vnd.ms-office.chartstyle+xml"/>
  <Override PartName="/ppt/charts/style1189.xml" ContentType="application/vnd.ms-office.chartstyle+xml"/>
  <Override PartName="/ppt/charts/style119.xml" ContentType="application/vnd.ms-office.chartstyle+xml"/>
  <Override PartName="/ppt/charts/style1190.xml" ContentType="application/vnd.ms-office.chartstyle+xml"/>
  <Override PartName="/ppt/charts/style1191.xml" ContentType="application/vnd.ms-office.chartstyle+xml"/>
  <Override PartName="/ppt/charts/style1192.xml" ContentType="application/vnd.ms-office.chartstyle+xml"/>
  <Override PartName="/ppt/charts/style1193.xml" ContentType="application/vnd.ms-office.chartstyle+xml"/>
  <Override PartName="/ppt/charts/style1194.xml" ContentType="application/vnd.ms-office.chartstyle+xml"/>
  <Override PartName="/ppt/charts/style1195.xml" ContentType="application/vnd.ms-office.chartstyle+xml"/>
  <Override PartName="/ppt/charts/style1196.xml" ContentType="application/vnd.ms-office.chartstyle+xml"/>
  <Override PartName="/ppt/charts/style1197.xml" ContentType="application/vnd.ms-office.chartstyle+xml"/>
  <Override PartName="/ppt/charts/style1198.xml" ContentType="application/vnd.ms-office.chartstyle+xml"/>
  <Override PartName="/ppt/charts/style1199.xml" ContentType="application/vnd.ms-office.chartstyle+xml"/>
  <Override PartName="/ppt/charts/style12.xml" ContentType="application/vnd.ms-office.chartstyle+xml"/>
  <Override PartName="/ppt/charts/style120.xml" ContentType="application/vnd.ms-office.chartstyle+xml"/>
  <Override PartName="/ppt/charts/style1200.xml" ContentType="application/vnd.ms-office.chartstyle+xml"/>
  <Override PartName="/ppt/charts/style1201.xml" ContentType="application/vnd.ms-office.chartstyle+xml"/>
  <Override PartName="/ppt/charts/style1202.xml" ContentType="application/vnd.ms-office.chartstyle+xml"/>
  <Override PartName="/ppt/charts/style1203.xml" ContentType="application/vnd.ms-office.chartstyle+xml"/>
  <Override PartName="/ppt/charts/style1204.xml" ContentType="application/vnd.ms-office.chartstyle+xml"/>
  <Override PartName="/ppt/charts/style1205.xml" ContentType="application/vnd.ms-office.chartstyle+xml"/>
  <Override PartName="/ppt/charts/style1206.xml" ContentType="application/vnd.ms-office.chartstyle+xml"/>
  <Override PartName="/ppt/charts/style1207.xml" ContentType="application/vnd.ms-office.chartstyle+xml"/>
  <Override PartName="/ppt/charts/style1208.xml" ContentType="application/vnd.ms-office.chartstyle+xml"/>
  <Override PartName="/ppt/charts/style1209.xml" ContentType="application/vnd.ms-office.chartstyle+xml"/>
  <Override PartName="/ppt/charts/style121.xml" ContentType="application/vnd.ms-office.chartstyle+xml"/>
  <Override PartName="/ppt/charts/style1210.xml" ContentType="application/vnd.ms-office.chartstyle+xml"/>
  <Override PartName="/ppt/charts/style1211.xml" ContentType="application/vnd.ms-office.chartstyle+xml"/>
  <Override PartName="/ppt/charts/style1212.xml" ContentType="application/vnd.ms-office.chartstyle+xml"/>
  <Override PartName="/ppt/charts/style1213.xml" ContentType="application/vnd.ms-office.chartstyle+xml"/>
  <Override PartName="/ppt/charts/style1214.xml" ContentType="application/vnd.ms-office.chartstyle+xml"/>
  <Override PartName="/ppt/charts/style1215.xml" ContentType="application/vnd.ms-office.chartstyle+xml"/>
  <Override PartName="/ppt/charts/style1216.xml" ContentType="application/vnd.ms-office.chartstyle+xml"/>
  <Override PartName="/ppt/charts/style1217.xml" ContentType="application/vnd.ms-office.chartstyle+xml"/>
  <Override PartName="/ppt/charts/style1218.xml" ContentType="application/vnd.ms-office.chartstyle+xml"/>
  <Override PartName="/ppt/charts/style1219.xml" ContentType="application/vnd.ms-office.chartstyle+xml"/>
  <Override PartName="/ppt/charts/style122.xml" ContentType="application/vnd.ms-office.chartstyle+xml"/>
  <Override PartName="/ppt/charts/style1220.xml" ContentType="application/vnd.ms-office.chartstyle+xml"/>
  <Override PartName="/ppt/charts/style1221.xml" ContentType="application/vnd.ms-office.chartstyle+xml"/>
  <Override PartName="/ppt/charts/style1222.xml" ContentType="application/vnd.ms-office.chartstyle+xml"/>
  <Override PartName="/ppt/charts/style1223.xml" ContentType="application/vnd.ms-office.chartstyle+xml"/>
  <Override PartName="/ppt/charts/style1224.xml" ContentType="application/vnd.ms-office.chartstyle+xml"/>
  <Override PartName="/ppt/charts/style1225.xml" ContentType="application/vnd.ms-office.chartstyle+xml"/>
  <Override PartName="/ppt/charts/style1226.xml" ContentType="application/vnd.ms-office.chartstyle+xml"/>
  <Override PartName="/ppt/charts/style1227.xml" ContentType="application/vnd.ms-office.chartstyle+xml"/>
  <Override PartName="/ppt/charts/style1228.xml" ContentType="application/vnd.ms-office.chartstyle+xml"/>
  <Override PartName="/ppt/charts/style1229.xml" ContentType="application/vnd.ms-office.chartstyle+xml"/>
  <Override PartName="/ppt/charts/style123.xml" ContentType="application/vnd.ms-office.chartstyle+xml"/>
  <Override PartName="/ppt/charts/style1230.xml" ContentType="application/vnd.ms-office.chartstyle+xml"/>
  <Override PartName="/ppt/charts/style1231.xml" ContentType="application/vnd.ms-office.chartstyle+xml"/>
  <Override PartName="/ppt/charts/style1232.xml" ContentType="application/vnd.ms-office.chartstyle+xml"/>
  <Override PartName="/ppt/charts/style1233.xml" ContentType="application/vnd.ms-office.chartstyle+xml"/>
  <Override PartName="/ppt/charts/style1234.xml" ContentType="application/vnd.ms-office.chartstyle+xml"/>
  <Override PartName="/ppt/charts/style1235.xml" ContentType="application/vnd.ms-office.chartstyle+xml"/>
  <Override PartName="/ppt/charts/style1236.xml" ContentType="application/vnd.ms-office.chartstyle+xml"/>
  <Override PartName="/ppt/charts/style1237.xml" ContentType="application/vnd.ms-office.chartstyle+xml"/>
  <Override PartName="/ppt/charts/style1238.xml" ContentType="application/vnd.ms-office.chartstyle+xml"/>
  <Override PartName="/ppt/charts/style1239.xml" ContentType="application/vnd.ms-office.chartstyle+xml"/>
  <Override PartName="/ppt/charts/style124.xml" ContentType="application/vnd.ms-office.chartstyle+xml"/>
  <Override PartName="/ppt/charts/style1240.xml" ContentType="application/vnd.ms-office.chartstyle+xml"/>
  <Override PartName="/ppt/charts/style1241.xml" ContentType="application/vnd.ms-office.chartstyle+xml"/>
  <Override PartName="/ppt/charts/style1242.xml" ContentType="application/vnd.ms-office.chartstyle+xml"/>
  <Override PartName="/ppt/charts/style1243.xml" ContentType="application/vnd.ms-office.chartstyle+xml"/>
  <Override PartName="/ppt/charts/style1244.xml" ContentType="application/vnd.ms-office.chartstyle+xml"/>
  <Override PartName="/ppt/charts/style1245.xml" ContentType="application/vnd.ms-office.chartstyle+xml"/>
  <Override PartName="/ppt/charts/style1246.xml" ContentType="application/vnd.ms-office.chartstyle+xml"/>
  <Override PartName="/ppt/charts/style1247.xml" ContentType="application/vnd.ms-office.chartstyle+xml"/>
  <Override PartName="/ppt/charts/style1248.xml" ContentType="application/vnd.ms-office.chartstyle+xml"/>
  <Override PartName="/ppt/charts/style1249.xml" ContentType="application/vnd.ms-office.chartstyle+xml"/>
  <Override PartName="/ppt/charts/style125.xml" ContentType="application/vnd.ms-office.chartstyle+xml"/>
  <Override PartName="/ppt/charts/style1250.xml" ContentType="application/vnd.ms-office.chartstyle+xml"/>
  <Override PartName="/ppt/charts/style1251.xml" ContentType="application/vnd.ms-office.chartstyle+xml"/>
  <Override PartName="/ppt/charts/style1252.xml" ContentType="application/vnd.ms-office.chartstyle+xml"/>
  <Override PartName="/ppt/charts/style1253.xml" ContentType="application/vnd.ms-office.chartstyle+xml"/>
  <Override PartName="/ppt/charts/style1254.xml" ContentType="application/vnd.ms-office.chartstyle+xml"/>
  <Override PartName="/ppt/charts/style1255.xml" ContentType="application/vnd.ms-office.chartstyle+xml"/>
  <Override PartName="/ppt/charts/style1256.xml" ContentType="application/vnd.ms-office.chartstyle+xml"/>
  <Override PartName="/ppt/charts/style1257.xml" ContentType="application/vnd.ms-office.chartstyle+xml"/>
  <Override PartName="/ppt/charts/style1258.xml" ContentType="application/vnd.ms-office.chartstyle+xml"/>
  <Override PartName="/ppt/charts/style1259.xml" ContentType="application/vnd.ms-office.chartstyle+xml"/>
  <Override PartName="/ppt/charts/style126.xml" ContentType="application/vnd.ms-office.chartstyle+xml"/>
  <Override PartName="/ppt/charts/style1260.xml" ContentType="application/vnd.ms-office.chartstyle+xml"/>
  <Override PartName="/ppt/charts/style1261.xml" ContentType="application/vnd.ms-office.chartstyle+xml"/>
  <Override PartName="/ppt/charts/style1262.xml" ContentType="application/vnd.ms-office.chartstyle+xml"/>
  <Override PartName="/ppt/charts/style1263.xml" ContentType="application/vnd.ms-office.chartstyle+xml"/>
  <Override PartName="/ppt/charts/style1264.xml" ContentType="application/vnd.ms-office.chartstyle+xml"/>
  <Override PartName="/ppt/charts/style1265.xml" ContentType="application/vnd.ms-office.chartstyle+xml"/>
  <Override PartName="/ppt/charts/style1266.xml" ContentType="application/vnd.ms-office.chartstyle+xml"/>
  <Override PartName="/ppt/charts/style1267.xml" ContentType="application/vnd.ms-office.chartstyle+xml"/>
  <Override PartName="/ppt/charts/style1268.xml" ContentType="application/vnd.ms-office.chartstyle+xml"/>
  <Override PartName="/ppt/charts/style1269.xml" ContentType="application/vnd.ms-office.chartstyle+xml"/>
  <Override PartName="/ppt/charts/style127.xml" ContentType="application/vnd.ms-office.chartstyle+xml"/>
  <Override PartName="/ppt/charts/style1270.xml" ContentType="application/vnd.ms-office.chartstyle+xml"/>
  <Override PartName="/ppt/charts/style1271.xml" ContentType="application/vnd.ms-office.chartstyle+xml"/>
  <Override PartName="/ppt/charts/style1272.xml" ContentType="application/vnd.ms-office.chartstyle+xml"/>
  <Override PartName="/ppt/charts/style1273.xml" ContentType="application/vnd.ms-office.chartstyle+xml"/>
  <Override PartName="/ppt/charts/style1274.xml" ContentType="application/vnd.ms-office.chartstyle+xml"/>
  <Override PartName="/ppt/charts/style1275.xml" ContentType="application/vnd.ms-office.chartstyle+xml"/>
  <Override PartName="/ppt/charts/style1276.xml" ContentType="application/vnd.ms-office.chartstyle+xml"/>
  <Override PartName="/ppt/charts/style1277.xml" ContentType="application/vnd.ms-office.chartstyle+xml"/>
  <Override PartName="/ppt/charts/style1278.xml" ContentType="application/vnd.ms-office.chartstyle+xml"/>
  <Override PartName="/ppt/charts/style1279.xml" ContentType="application/vnd.ms-office.chartstyle+xml"/>
  <Override PartName="/ppt/charts/style128.xml" ContentType="application/vnd.ms-office.chartstyle+xml"/>
  <Override PartName="/ppt/charts/style1280.xml" ContentType="application/vnd.ms-office.chartstyle+xml"/>
  <Override PartName="/ppt/charts/style1281.xml" ContentType="application/vnd.ms-office.chartstyle+xml"/>
  <Override PartName="/ppt/charts/style1282.xml" ContentType="application/vnd.ms-office.chartstyle+xml"/>
  <Override PartName="/ppt/charts/style1283.xml" ContentType="application/vnd.ms-office.chartstyle+xml"/>
  <Override PartName="/ppt/charts/style1284.xml" ContentType="application/vnd.ms-office.chartstyle+xml"/>
  <Override PartName="/ppt/charts/style1285.xml" ContentType="application/vnd.ms-office.chartstyle+xml"/>
  <Override PartName="/ppt/charts/style1286.xml" ContentType="application/vnd.ms-office.chartstyle+xml"/>
  <Override PartName="/ppt/charts/style1287.xml" ContentType="application/vnd.ms-office.chartstyle+xml"/>
  <Override PartName="/ppt/charts/style1288.xml" ContentType="application/vnd.ms-office.chartstyle+xml"/>
  <Override PartName="/ppt/charts/style1289.xml" ContentType="application/vnd.ms-office.chartstyle+xml"/>
  <Override PartName="/ppt/charts/style129.xml" ContentType="application/vnd.ms-office.chartstyle+xml"/>
  <Override PartName="/ppt/charts/style1290.xml" ContentType="application/vnd.ms-office.chartstyle+xml"/>
  <Override PartName="/ppt/charts/style1291.xml" ContentType="application/vnd.ms-office.chartstyle+xml"/>
  <Override PartName="/ppt/charts/style1292.xml" ContentType="application/vnd.ms-office.chartstyle+xml"/>
  <Override PartName="/ppt/charts/style1293.xml" ContentType="application/vnd.ms-office.chartstyle+xml"/>
  <Override PartName="/ppt/charts/style1294.xml" ContentType="application/vnd.ms-office.chartstyle+xml"/>
  <Override PartName="/ppt/charts/style1295.xml" ContentType="application/vnd.ms-office.chartstyle+xml"/>
  <Override PartName="/ppt/charts/style1296.xml" ContentType="application/vnd.ms-office.chartstyle+xml"/>
  <Override PartName="/ppt/charts/style1297.xml" ContentType="application/vnd.ms-office.chartstyle+xml"/>
  <Override PartName="/ppt/charts/style1298.xml" ContentType="application/vnd.ms-office.chartstyle+xml"/>
  <Override PartName="/ppt/charts/style1299.xml" ContentType="application/vnd.ms-office.chartstyle+xml"/>
  <Override PartName="/ppt/charts/style13.xml" ContentType="application/vnd.ms-office.chartstyle+xml"/>
  <Override PartName="/ppt/charts/style130.xml" ContentType="application/vnd.ms-office.chartstyle+xml"/>
  <Override PartName="/ppt/charts/style1300.xml" ContentType="application/vnd.ms-office.chartstyle+xml"/>
  <Override PartName="/ppt/charts/style1301.xml" ContentType="application/vnd.ms-office.chartstyle+xml"/>
  <Override PartName="/ppt/charts/style1302.xml" ContentType="application/vnd.ms-office.chartstyle+xml"/>
  <Override PartName="/ppt/charts/style1303.xml" ContentType="application/vnd.ms-office.chartstyle+xml"/>
  <Override PartName="/ppt/charts/style1304.xml" ContentType="application/vnd.ms-office.chartstyle+xml"/>
  <Override PartName="/ppt/charts/style1305.xml" ContentType="application/vnd.ms-office.chartstyle+xml"/>
  <Override PartName="/ppt/charts/style1306.xml" ContentType="application/vnd.ms-office.chartstyle+xml"/>
  <Override PartName="/ppt/charts/style1307.xml" ContentType="application/vnd.ms-office.chartstyle+xml"/>
  <Override PartName="/ppt/charts/style1308.xml" ContentType="application/vnd.ms-office.chartstyle+xml"/>
  <Override PartName="/ppt/charts/style1309.xml" ContentType="application/vnd.ms-office.chartstyle+xml"/>
  <Override PartName="/ppt/charts/style131.xml" ContentType="application/vnd.ms-office.chartstyle+xml"/>
  <Override PartName="/ppt/charts/style1310.xml" ContentType="application/vnd.ms-office.chartstyle+xml"/>
  <Override PartName="/ppt/charts/style1311.xml" ContentType="application/vnd.ms-office.chartstyle+xml"/>
  <Override PartName="/ppt/charts/style1312.xml" ContentType="application/vnd.ms-office.chartstyle+xml"/>
  <Override PartName="/ppt/charts/style1313.xml" ContentType="application/vnd.ms-office.chartstyle+xml"/>
  <Override PartName="/ppt/charts/style1314.xml" ContentType="application/vnd.ms-office.chartstyle+xml"/>
  <Override PartName="/ppt/charts/style1315.xml" ContentType="application/vnd.ms-office.chartstyle+xml"/>
  <Override PartName="/ppt/charts/style1316.xml" ContentType="application/vnd.ms-office.chartstyle+xml"/>
  <Override PartName="/ppt/charts/style1317.xml" ContentType="application/vnd.ms-office.chartstyle+xml"/>
  <Override PartName="/ppt/charts/style1318.xml" ContentType="application/vnd.ms-office.chartstyle+xml"/>
  <Override PartName="/ppt/charts/style1319.xml" ContentType="application/vnd.ms-office.chartstyle+xml"/>
  <Override PartName="/ppt/charts/style132.xml" ContentType="application/vnd.ms-office.chartstyle+xml"/>
  <Override PartName="/ppt/charts/style1320.xml" ContentType="application/vnd.ms-office.chartstyle+xml"/>
  <Override PartName="/ppt/charts/style1321.xml" ContentType="application/vnd.ms-office.chartstyle+xml"/>
  <Override PartName="/ppt/charts/style1322.xml" ContentType="application/vnd.ms-office.chartstyle+xml"/>
  <Override PartName="/ppt/charts/style1323.xml" ContentType="application/vnd.ms-office.chartstyle+xml"/>
  <Override PartName="/ppt/charts/style1324.xml" ContentType="application/vnd.ms-office.chartstyle+xml"/>
  <Override PartName="/ppt/charts/style1325.xml" ContentType="application/vnd.ms-office.chartstyle+xml"/>
  <Override PartName="/ppt/charts/style1326.xml" ContentType="application/vnd.ms-office.chartstyle+xml"/>
  <Override PartName="/ppt/charts/style1327.xml" ContentType="application/vnd.ms-office.chartstyle+xml"/>
  <Override PartName="/ppt/charts/style1328.xml" ContentType="application/vnd.ms-office.chartstyle+xml"/>
  <Override PartName="/ppt/charts/style1329.xml" ContentType="application/vnd.ms-office.chartstyle+xml"/>
  <Override PartName="/ppt/charts/style133.xml" ContentType="application/vnd.ms-office.chartstyle+xml"/>
  <Override PartName="/ppt/charts/style1330.xml" ContentType="application/vnd.ms-office.chartstyle+xml"/>
  <Override PartName="/ppt/charts/style1331.xml" ContentType="application/vnd.ms-office.chartstyle+xml"/>
  <Override PartName="/ppt/charts/style1332.xml" ContentType="application/vnd.ms-office.chartstyle+xml"/>
  <Override PartName="/ppt/charts/style1333.xml" ContentType="application/vnd.ms-office.chartstyle+xml"/>
  <Override PartName="/ppt/charts/style1334.xml" ContentType="application/vnd.ms-office.chartstyle+xml"/>
  <Override PartName="/ppt/charts/style1335.xml" ContentType="application/vnd.ms-office.chartstyle+xml"/>
  <Override PartName="/ppt/charts/style1336.xml" ContentType="application/vnd.ms-office.chartstyle+xml"/>
  <Override PartName="/ppt/charts/style1337.xml" ContentType="application/vnd.ms-office.chartstyle+xml"/>
  <Override PartName="/ppt/charts/style1338.xml" ContentType="application/vnd.ms-office.chartstyle+xml"/>
  <Override PartName="/ppt/charts/style1339.xml" ContentType="application/vnd.ms-office.chartstyle+xml"/>
  <Override PartName="/ppt/charts/style134.xml" ContentType="application/vnd.ms-office.chartstyle+xml"/>
  <Override PartName="/ppt/charts/style1340.xml" ContentType="application/vnd.ms-office.chartstyle+xml"/>
  <Override PartName="/ppt/charts/style1341.xml" ContentType="application/vnd.ms-office.chartstyle+xml"/>
  <Override PartName="/ppt/charts/style1342.xml" ContentType="application/vnd.ms-office.chartstyle+xml"/>
  <Override PartName="/ppt/charts/style1343.xml" ContentType="application/vnd.ms-office.chartstyle+xml"/>
  <Override PartName="/ppt/charts/style1344.xml" ContentType="application/vnd.ms-office.chartstyle+xml"/>
  <Override PartName="/ppt/charts/style1345.xml" ContentType="application/vnd.ms-office.chartstyle+xml"/>
  <Override PartName="/ppt/charts/style1346.xml" ContentType="application/vnd.ms-office.chartstyle+xml"/>
  <Override PartName="/ppt/charts/style1347.xml" ContentType="application/vnd.ms-office.chartstyle+xml"/>
  <Override PartName="/ppt/charts/style1348.xml" ContentType="application/vnd.ms-office.chartstyle+xml"/>
  <Override PartName="/ppt/charts/style1349.xml" ContentType="application/vnd.ms-office.chartstyle+xml"/>
  <Override PartName="/ppt/charts/style135.xml" ContentType="application/vnd.ms-office.chartstyle+xml"/>
  <Override PartName="/ppt/charts/style1350.xml" ContentType="application/vnd.ms-office.chartstyle+xml"/>
  <Override PartName="/ppt/charts/style1351.xml" ContentType="application/vnd.ms-office.chartstyle+xml"/>
  <Override PartName="/ppt/charts/style1352.xml" ContentType="application/vnd.ms-office.chartstyle+xml"/>
  <Override PartName="/ppt/charts/style1353.xml" ContentType="application/vnd.ms-office.chartstyle+xml"/>
  <Override PartName="/ppt/charts/style1354.xml" ContentType="application/vnd.ms-office.chartstyle+xml"/>
  <Override PartName="/ppt/charts/style1355.xml" ContentType="application/vnd.ms-office.chartstyle+xml"/>
  <Override PartName="/ppt/charts/style1356.xml" ContentType="application/vnd.ms-office.chartstyle+xml"/>
  <Override PartName="/ppt/charts/style1357.xml" ContentType="application/vnd.ms-office.chartstyle+xml"/>
  <Override PartName="/ppt/charts/style1358.xml" ContentType="application/vnd.ms-office.chartstyle+xml"/>
  <Override PartName="/ppt/charts/style1359.xml" ContentType="application/vnd.ms-office.chartstyle+xml"/>
  <Override PartName="/ppt/charts/style136.xml" ContentType="application/vnd.ms-office.chartstyle+xml"/>
  <Override PartName="/ppt/charts/style1360.xml" ContentType="application/vnd.ms-office.chartstyle+xml"/>
  <Override PartName="/ppt/charts/style1361.xml" ContentType="application/vnd.ms-office.chartstyle+xml"/>
  <Override PartName="/ppt/charts/style1362.xml" ContentType="application/vnd.ms-office.chartstyle+xml"/>
  <Override PartName="/ppt/charts/style1363.xml" ContentType="application/vnd.ms-office.chartstyle+xml"/>
  <Override PartName="/ppt/charts/style1364.xml" ContentType="application/vnd.ms-office.chartstyle+xml"/>
  <Override PartName="/ppt/charts/style1365.xml" ContentType="application/vnd.ms-office.chartstyle+xml"/>
  <Override PartName="/ppt/charts/style1366.xml" ContentType="application/vnd.ms-office.chartstyle+xml"/>
  <Override PartName="/ppt/charts/style1367.xml" ContentType="application/vnd.ms-office.chartstyle+xml"/>
  <Override PartName="/ppt/charts/style1368.xml" ContentType="application/vnd.ms-office.chartstyle+xml"/>
  <Override PartName="/ppt/charts/style1369.xml" ContentType="application/vnd.ms-office.chartstyle+xml"/>
  <Override PartName="/ppt/charts/style137.xml" ContentType="application/vnd.ms-office.chartstyle+xml"/>
  <Override PartName="/ppt/charts/style1370.xml" ContentType="application/vnd.ms-office.chartstyle+xml"/>
  <Override PartName="/ppt/charts/style1371.xml" ContentType="application/vnd.ms-office.chartstyle+xml"/>
  <Override PartName="/ppt/charts/style1372.xml" ContentType="application/vnd.ms-office.chartstyle+xml"/>
  <Override PartName="/ppt/charts/style1373.xml" ContentType="application/vnd.ms-office.chartstyle+xml"/>
  <Override PartName="/ppt/charts/style1374.xml" ContentType="application/vnd.ms-office.chartstyle+xml"/>
  <Override PartName="/ppt/charts/style1375.xml" ContentType="application/vnd.ms-office.chartstyle+xml"/>
  <Override PartName="/ppt/charts/style1376.xml" ContentType="application/vnd.ms-office.chartstyle+xml"/>
  <Override PartName="/ppt/charts/style1377.xml" ContentType="application/vnd.ms-office.chartstyle+xml"/>
  <Override PartName="/ppt/charts/style1378.xml" ContentType="application/vnd.ms-office.chartstyle+xml"/>
  <Override PartName="/ppt/charts/style1379.xml" ContentType="application/vnd.ms-office.chartstyle+xml"/>
  <Override PartName="/ppt/charts/style138.xml" ContentType="application/vnd.ms-office.chartstyle+xml"/>
  <Override PartName="/ppt/charts/style1380.xml" ContentType="application/vnd.ms-office.chartstyle+xml"/>
  <Override PartName="/ppt/charts/style1381.xml" ContentType="application/vnd.ms-office.chartstyle+xml"/>
  <Override PartName="/ppt/charts/style1382.xml" ContentType="application/vnd.ms-office.chartstyle+xml"/>
  <Override PartName="/ppt/charts/style1383.xml" ContentType="application/vnd.ms-office.chartstyle+xml"/>
  <Override PartName="/ppt/charts/style1384.xml" ContentType="application/vnd.ms-office.chartstyle+xml"/>
  <Override PartName="/ppt/charts/style1385.xml" ContentType="application/vnd.ms-office.chartstyle+xml"/>
  <Override PartName="/ppt/charts/style1386.xml" ContentType="application/vnd.ms-office.chartstyle+xml"/>
  <Override PartName="/ppt/charts/style1387.xml" ContentType="application/vnd.ms-office.chartstyle+xml"/>
  <Override PartName="/ppt/charts/style1388.xml" ContentType="application/vnd.ms-office.chartstyle+xml"/>
  <Override PartName="/ppt/charts/style1389.xml" ContentType="application/vnd.ms-office.chartstyle+xml"/>
  <Override PartName="/ppt/charts/style139.xml" ContentType="application/vnd.ms-office.chartstyle+xml"/>
  <Override PartName="/ppt/charts/style1390.xml" ContentType="application/vnd.ms-office.chartstyle+xml"/>
  <Override PartName="/ppt/charts/style1391.xml" ContentType="application/vnd.ms-office.chartstyle+xml"/>
  <Override PartName="/ppt/charts/style1392.xml" ContentType="application/vnd.ms-office.chartstyle+xml"/>
  <Override PartName="/ppt/charts/style1393.xml" ContentType="application/vnd.ms-office.chartstyle+xml"/>
  <Override PartName="/ppt/charts/style1394.xml" ContentType="application/vnd.ms-office.chartstyle+xml"/>
  <Override PartName="/ppt/charts/style1395.xml" ContentType="application/vnd.ms-office.chartstyle+xml"/>
  <Override PartName="/ppt/charts/style1396.xml" ContentType="application/vnd.ms-office.chartstyle+xml"/>
  <Override PartName="/ppt/charts/style1397.xml" ContentType="application/vnd.ms-office.chartstyle+xml"/>
  <Override PartName="/ppt/charts/style1398.xml" ContentType="application/vnd.ms-office.chartstyle+xml"/>
  <Override PartName="/ppt/charts/style1399.xml" ContentType="application/vnd.ms-office.chartstyle+xml"/>
  <Override PartName="/ppt/charts/style14.xml" ContentType="application/vnd.ms-office.chartstyle+xml"/>
  <Override PartName="/ppt/charts/style140.xml" ContentType="application/vnd.ms-office.chartstyle+xml"/>
  <Override PartName="/ppt/charts/style1400.xml" ContentType="application/vnd.ms-office.chartstyle+xml"/>
  <Override PartName="/ppt/charts/style1401.xml" ContentType="application/vnd.ms-office.chartstyle+xml"/>
  <Override PartName="/ppt/charts/style1402.xml" ContentType="application/vnd.ms-office.chartstyle+xml"/>
  <Override PartName="/ppt/charts/style1403.xml" ContentType="application/vnd.ms-office.chartstyle+xml"/>
  <Override PartName="/ppt/charts/style1404.xml" ContentType="application/vnd.ms-office.chartstyle+xml"/>
  <Override PartName="/ppt/charts/style1405.xml" ContentType="application/vnd.ms-office.chartstyle+xml"/>
  <Override PartName="/ppt/charts/style1406.xml" ContentType="application/vnd.ms-office.chartstyle+xml"/>
  <Override PartName="/ppt/charts/style1407.xml" ContentType="application/vnd.ms-office.chartstyle+xml"/>
  <Override PartName="/ppt/charts/style1408.xml" ContentType="application/vnd.ms-office.chartstyle+xml"/>
  <Override PartName="/ppt/charts/style1409.xml" ContentType="application/vnd.ms-office.chartstyle+xml"/>
  <Override PartName="/ppt/charts/style141.xml" ContentType="application/vnd.ms-office.chartstyle+xml"/>
  <Override PartName="/ppt/charts/style1410.xml" ContentType="application/vnd.ms-office.chartstyle+xml"/>
  <Override PartName="/ppt/charts/style1411.xml" ContentType="application/vnd.ms-office.chartstyle+xml"/>
  <Override PartName="/ppt/charts/style1412.xml" ContentType="application/vnd.ms-office.chartstyle+xml"/>
  <Override PartName="/ppt/charts/style1413.xml" ContentType="application/vnd.ms-office.chartstyle+xml"/>
  <Override PartName="/ppt/charts/style1414.xml" ContentType="application/vnd.ms-office.chartstyle+xml"/>
  <Override PartName="/ppt/charts/style1415.xml" ContentType="application/vnd.ms-office.chartstyle+xml"/>
  <Override PartName="/ppt/charts/style1416.xml" ContentType="application/vnd.ms-office.chartstyle+xml"/>
  <Override PartName="/ppt/charts/style1417.xml" ContentType="application/vnd.ms-office.chartstyle+xml"/>
  <Override PartName="/ppt/charts/style1418.xml" ContentType="application/vnd.ms-office.chartstyle+xml"/>
  <Override PartName="/ppt/charts/style1419.xml" ContentType="application/vnd.ms-office.chartstyle+xml"/>
  <Override PartName="/ppt/charts/style142.xml" ContentType="application/vnd.ms-office.chartstyle+xml"/>
  <Override PartName="/ppt/charts/style1420.xml" ContentType="application/vnd.ms-office.chartstyle+xml"/>
  <Override PartName="/ppt/charts/style1421.xml" ContentType="application/vnd.ms-office.chartstyle+xml"/>
  <Override PartName="/ppt/charts/style1422.xml" ContentType="application/vnd.ms-office.chartstyle+xml"/>
  <Override PartName="/ppt/charts/style1423.xml" ContentType="application/vnd.ms-office.chartstyle+xml"/>
  <Override PartName="/ppt/charts/style1424.xml" ContentType="application/vnd.ms-office.chartstyle+xml"/>
  <Override PartName="/ppt/charts/style1425.xml" ContentType="application/vnd.ms-office.chartstyle+xml"/>
  <Override PartName="/ppt/charts/style1426.xml" ContentType="application/vnd.ms-office.chartstyle+xml"/>
  <Override PartName="/ppt/charts/style1427.xml" ContentType="application/vnd.ms-office.chartstyle+xml"/>
  <Override PartName="/ppt/charts/style1428.xml" ContentType="application/vnd.ms-office.chartstyle+xml"/>
  <Override PartName="/ppt/charts/style1429.xml" ContentType="application/vnd.ms-office.chartstyle+xml"/>
  <Override PartName="/ppt/charts/style143.xml" ContentType="application/vnd.ms-office.chartstyle+xml"/>
  <Override PartName="/ppt/charts/style1430.xml" ContentType="application/vnd.ms-office.chartstyle+xml"/>
  <Override PartName="/ppt/charts/style1431.xml" ContentType="application/vnd.ms-office.chartstyle+xml"/>
  <Override PartName="/ppt/charts/style1432.xml" ContentType="application/vnd.ms-office.chartstyle+xml"/>
  <Override PartName="/ppt/charts/style1433.xml" ContentType="application/vnd.ms-office.chartstyle+xml"/>
  <Override PartName="/ppt/charts/style1434.xml" ContentType="application/vnd.ms-office.chartstyle+xml"/>
  <Override PartName="/ppt/charts/style1435.xml" ContentType="application/vnd.ms-office.chartstyle+xml"/>
  <Override PartName="/ppt/charts/style1436.xml" ContentType="application/vnd.ms-office.chartstyle+xml"/>
  <Override PartName="/ppt/charts/style1437.xml" ContentType="application/vnd.ms-office.chartstyle+xml"/>
  <Override PartName="/ppt/charts/style1438.xml" ContentType="application/vnd.ms-office.chartstyle+xml"/>
  <Override PartName="/ppt/charts/style1439.xml" ContentType="application/vnd.ms-office.chartstyle+xml"/>
  <Override PartName="/ppt/charts/style144.xml" ContentType="application/vnd.ms-office.chartstyle+xml"/>
  <Override PartName="/ppt/charts/style1440.xml" ContentType="application/vnd.ms-office.chartstyle+xml"/>
  <Override PartName="/ppt/charts/style1441.xml" ContentType="application/vnd.ms-office.chartstyle+xml"/>
  <Override PartName="/ppt/charts/style1442.xml" ContentType="application/vnd.ms-office.chartstyle+xml"/>
  <Override PartName="/ppt/charts/style1443.xml" ContentType="application/vnd.ms-office.chartstyle+xml"/>
  <Override PartName="/ppt/charts/style1444.xml" ContentType="application/vnd.ms-office.chartstyle+xml"/>
  <Override PartName="/ppt/charts/style1445.xml" ContentType="application/vnd.ms-office.chartstyle+xml"/>
  <Override PartName="/ppt/charts/style1446.xml" ContentType="application/vnd.ms-office.chartstyle+xml"/>
  <Override PartName="/ppt/charts/style1447.xml" ContentType="application/vnd.ms-office.chartstyle+xml"/>
  <Override PartName="/ppt/charts/style1448.xml" ContentType="application/vnd.ms-office.chartstyle+xml"/>
  <Override PartName="/ppt/charts/style1449.xml" ContentType="application/vnd.ms-office.chartstyle+xml"/>
  <Override PartName="/ppt/charts/style145.xml" ContentType="application/vnd.ms-office.chartstyle+xml"/>
  <Override PartName="/ppt/charts/style1450.xml" ContentType="application/vnd.ms-office.chartstyle+xml"/>
  <Override PartName="/ppt/charts/style1451.xml" ContentType="application/vnd.ms-office.chartstyle+xml"/>
  <Override PartName="/ppt/charts/style1452.xml" ContentType="application/vnd.ms-office.chartstyle+xml"/>
  <Override PartName="/ppt/charts/style1453.xml" ContentType="application/vnd.ms-office.chartstyle+xml"/>
  <Override PartName="/ppt/charts/style1454.xml" ContentType="application/vnd.ms-office.chartstyle+xml"/>
  <Override PartName="/ppt/charts/style1455.xml" ContentType="application/vnd.ms-office.chartstyle+xml"/>
  <Override PartName="/ppt/charts/style1456.xml" ContentType="application/vnd.ms-office.chartstyle+xml"/>
  <Override PartName="/ppt/charts/style1457.xml" ContentType="application/vnd.ms-office.chartstyle+xml"/>
  <Override PartName="/ppt/charts/style1458.xml" ContentType="application/vnd.ms-office.chartstyle+xml"/>
  <Override PartName="/ppt/charts/style1459.xml" ContentType="application/vnd.ms-office.chartstyle+xml"/>
  <Override PartName="/ppt/charts/style146.xml" ContentType="application/vnd.ms-office.chartstyle+xml"/>
  <Override PartName="/ppt/charts/style1460.xml" ContentType="application/vnd.ms-office.chartstyle+xml"/>
  <Override PartName="/ppt/charts/style1461.xml" ContentType="application/vnd.ms-office.chartstyle+xml"/>
  <Override PartName="/ppt/charts/style1462.xml" ContentType="application/vnd.ms-office.chartstyle+xml"/>
  <Override PartName="/ppt/charts/style1463.xml" ContentType="application/vnd.ms-office.chartstyle+xml"/>
  <Override PartName="/ppt/charts/style1464.xml" ContentType="application/vnd.ms-office.chartstyle+xml"/>
  <Override PartName="/ppt/charts/style1465.xml" ContentType="application/vnd.ms-office.chartstyle+xml"/>
  <Override PartName="/ppt/charts/style1466.xml" ContentType="application/vnd.ms-office.chartstyle+xml"/>
  <Override PartName="/ppt/charts/style1467.xml" ContentType="application/vnd.ms-office.chartstyle+xml"/>
  <Override PartName="/ppt/charts/style1468.xml" ContentType="application/vnd.ms-office.chartstyle+xml"/>
  <Override PartName="/ppt/charts/style1469.xml" ContentType="application/vnd.ms-office.chartstyle+xml"/>
  <Override PartName="/ppt/charts/style147.xml" ContentType="application/vnd.ms-office.chartstyle+xml"/>
  <Override PartName="/ppt/charts/style1470.xml" ContentType="application/vnd.ms-office.chartstyle+xml"/>
  <Override PartName="/ppt/charts/style1471.xml" ContentType="application/vnd.ms-office.chartstyle+xml"/>
  <Override PartName="/ppt/charts/style1472.xml" ContentType="application/vnd.ms-office.chartstyle+xml"/>
  <Override PartName="/ppt/charts/style1473.xml" ContentType="application/vnd.ms-office.chartstyle+xml"/>
  <Override PartName="/ppt/charts/style1474.xml" ContentType="application/vnd.ms-office.chartstyle+xml"/>
  <Override PartName="/ppt/charts/style1475.xml" ContentType="application/vnd.ms-office.chartstyle+xml"/>
  <Override PartName="/ppt/charts/style1476.xml" ContentType="application/vnd.ms-office.chartstyle+xml"/>
  <Override PartName="/ppt/charts/style1477.xml" ContentType="application/vnd.ms-office.chartstyle+xml"/>
  <Override PartName="/ppt/charts/style1478.xml" ContentType="application/vnd.ms-office.chartstyle+xml"/>
  <Override PartName="/ppt/charts/style1479.xml" ContentType="application/vnd.ms-office.chartstyle+xml"/>
  <Override PartName="/ppt/charts/style148.xml" ContentType="application/vnd.ms-office.chartstyle+xml"/>
  <Override PartName="/ppt/charts/style1480.xml" ContentType="application/vnd.ms-office.chartstyle+xml"/>
  <Override PartName="/ppt/charts/style1481.xml" ContentType="application/vnd.ms-office.chartstyle+xml"/>
  <Override PartName="/ppt/charts/style1482.xml" ContentType="application/vnd.ms-office.chartstyle+xml"/>
  <Override PartName="/ppt/charts/style1483.xml" ContentType="application/vnd.ms-office.chartstyle+xml"/>
  <Override PartName="/ppt/charts/style1484.xml" ContentType="application/vnd.ms-office.chartstyle+xml"/>
  <Override PartName="/ppt/charts/style1485.xml" ContentType="application/vnd.ms-office.chartstyle+xml"/>
  <Override PartName="/ppt/charts/style1486.xml" ContentType="application/vnd.ms-office.chartstyle+xml"/>
  <Override PartName="/ppt/charts/style1487.xml" ContentType="application/vnd.ms-office.chartstyle+xml"/>
  <Override PartName="/ppt/charts/style1488.xml" ContentType="application/vnd.ms-office.chartstyle+xml"/>
  <Override PartName="/ppt/charts/style1489.xml" ContentType="application/vnd.ms-office.chartstyle+xml"/>
  <Override PartName="/ppt/charts/style149.xml" ContentType="application/vnd.ms-office.chartstyle+xml"/>
  <Override PartName="/ppt/charts/style1490.xml" ContentType="application/vnd.ms-office.chartstyle+xml"/>
  <Override PartName="/ppt/charts/style1491.xml" ContentType="application/vnd.ms-office.chartstyle+xml"/>
  <Override PartName="/ppt/charts/style1492.xml" ContentType="application/vnd.ms-office.chartstyle+xml"/>
  <Override PartName="/ppt/charts/style1493.xml" ContentType="application/vnd.ms-office.chartstyle+xml"/>
  <Override PartName="/ppt/charts/style1494.xml" ContentType="application/vnd.ms-office.chartstyle+xml"/>
  <Override PartName="/ppt/charts/style1495.xml" ContentType="application/vnd.ms-office.chartstyle+xml"/>
  <Override PartName="/ppt/charts/style1496.xml" ContentType="application/vnd.ms-office.chartstyle+xml"/>
  <Override PartName="/ppt/charts/style1497.xml" ContentType="application/vnd.ms-office.chartstyle+xml"/>
  <Override PartName="/ppt/charts/style1498.xml" ContentType="application/vnd.ms-office.chartstyle+xml"/>
  <Override PartName="/ppt/charts/style1499.xml" ContentType="application/vnd.ms-office.chartstyle+xml"/>
  <Override PartName="/ppt/charts/style15.xml" ContentType="application/vnd.ms-office.chartstyle+xml"/>
  <Override PartName="/ppt/charts/style150.xml" ContentType="application/vnd.ms-office.chartstyle+xml"/>
  <Override PartName="/ppt/charts/style1500.xml" ContentType="application/vnd.ms-office.chartstyle+xml"/>
  <Override PartName="/ppt/charts/style1501.xml" ContentType="application/vnd.ms-office.chartstyle+xml"/>
  <Override PartName="/ppt/charts/style1502.xml" ContentType="application/vnd.ms-office.chartstyle+xml"/>
  <Override PartName="/ppt/charts/style1503.xml" ContentType="application/vnd.ms-office.chartstyle+xml"/>
  <Override PartName="/ppt/charts/style1504.xml" ContentType="application/vnd.ms-office.chartstyle+xml"/>
  <Override PartName="/ppt/charts/style1505.xml" ContentType="application/vnd.ms-office.chartstyle+xml"/>
  <Override PartName="/ppt/charts/style1506.xml" ContentType="application/vnd.ms-office.chartstyle+xml"/>
  <Override PartName="/ppt/charts/style1507.xml" ContentType="application/vnd.ms-office.chartstyle+xml"/>
  <Override PartName="/ppt/charts/style1508.xml" ContentType="application/vnd.ms-office.chartstyle+xml"/>
  <Override PartName="/ppt/charts/style1509.xml" ContentType="application/vnd.ms-office.chartstyle+xml"/>
  <Override PartName="/ppt/charts/style151.xml" ContentType="application/vnd.ms-office.chartstyle+xml"/>
  <Override PartName="/ppt/charts/style1510.xml" ContentType="application/vnd.ms-office.chartstyle+xml"/>
  <Override PartName="/ppt/charts/style1511.xml" ContentType="application/vnd.ms-office.chartstyle+xml"/>
  <Override PartName="/ppt/charts/style1512.xml" ContentType="application/vnd.ms-office.chartstyle+xml"/>
  <Override PartName="/ppt/charts/style1513.xml" ContentType="application/vnd.ms-office.chartstyle+xml"/>
  <Override PartName="/ppt/charts/style1514.xml" ContentType="application/vnd.ms-office.chartstyle+xml"/>
  <Override PartName="/ppt/charts/style1515.xml" ContentType="application/vnd.ms-office.chartstyle+xml"/>
  <Override PartName="/ppt/charts/style1516.xml" ContentType="application/vnd.ms-office.chartstyle+xml"/>
  <Override PartName="/ppt/charts/style1517.xml" ContentType="application/vnd.ms-office.chartstyle+xml"/>
  <Override PartName="/ppt/charts/style1518.xml" ContentType="application/vnd.ms-office.chartstyle+xml"/>
  <Override PartName="/ppt/charts/style1519.xml" ContentType="application/vnd.ms-office.chartstyle+xml"/>
  <Override PartName="/ppt/charts/style152.xml" ContentType="application/vnd.ms-office.chartstyle+xml"/>
  <Override PartName="/ppt/charts/style1520.xml" ContentType="application/vnd.ms-office.chartstyle+xml"/>
  <Override PartName="/ppt/charts/style1521.xml" ContentType="application/vnd.ms-office.chartstyle+xml"/>
  <Override PartName="/ppt/charts/style1522.xml" ContentType="application/vnd.ms-office.chartstyle+xml"/>
  <Override PartName="/ppt/charts/style1523.xml" ContentType="application/vnd.ms-office.chartstyle+xml"/>
  <Override PartName="/ppt/charts/style1524.xml" ContentType="application/vnd.ms-office.chartstyle+xml"/>
  <Override PartName="/ppt/charts/style1525.xml" ContentType="application/vnd.ms-office.chartstyle+xml"/>
  <Override PartName="/ppt/charts/style1526.xml" ContentType="application/vnd.ms-office.chartstyle+xml"/>
  <Override PartName="/ppt/charts/style1527.xml" ContentType="application/vnd.ms-office.chartstyle+xml"/>
  <Override PartName="/ppt/charts/style1528.xml" ContentType="application/vnd.ms-office.chartstyle+xml"/>
  <Override PartName="/ppt/charts/style1529.xml" ContentType="application/vnd.ms-office.chartstyle+xml"/>
  <Override PartName="/ppt/charts/style153.xml" ContentType="application/vnd.ms-office.chartstyle+xml"/>
  <Override PartName="/ppt/charts/style1530.xml" ContentType="application/vnd.ms-office.chartstyle+xml"/>
  <Override PartName="/ppt/charts/style1531.xml" ContentType="application/vnd.ms-office.chartstyle+xml"/>
  <Override PartName="/ppt/charts/style1532.xml" ContentType="application/vnd.ms-office.chartstyle+xml"/>
  <Override PartName="/ppt/charts/style1533.xml" ContentType="application/vnd.ms-office.chartstyle+xml"/>
  <Override PartName="/ppt/charts/style1534.xml" ContentType="application/vnd.ms-office.chartstyle+xml"/>
  <Override PartName="/ppt/charts/style1535.xml" ContentType="application/vnd.ms-office.chartstyle+xml"/>
  <Override PartName="/ppt/charts/style1536.xml" ContentType="application/vnd.ms-office.chartstyle+xml"/>
  <Override PartName="/ppt/charts/style1537.xml" ContentType="application/vnd.ms-office.chartstyle+xml"/>
  <Override PartName="/ppt/charts/style1538.xml" ContentType="application/vnd.ms-office.chartstyle+xml"/>
  <Override PartName="/ppt/charts/style1539.xml" ContentType="application/vnd.ms-office.chartstyle+xml"/>
  <Override PartName="/ppt/charts/style154.xml" ContentType="application/vnd.ms-office.chartstyle+xml"/>
  <Override PartName="/ppt/charts/style1540.xml" ContentType="application/vnd.ms-office.chartstyle+xml"/>
  <Override PartName="/ppt/charts/style1541.xml" ContentType="application/vnd.ms-office.chartstyle+xml"/>
  <Override PartName="/ppt/charts/style1542.xml" ContentType="application/vnd.ms-office.chartstyle+xml"/>
  <Override PartName="/ppt/charts/style1543.xml" ContentType="application/vnd.ms-office.chartstyle+xml"/>
  <Override PartName="/ppt/charts/style1544.xml" ContentType="application/vnd.ms-office.chartstyle+xml"/>
  <Override PartName="/ppt/charts/style1545.xml" ContentType="application/vnd.ms-office.chartstyle+xml"/>
  <Override PartName="/ppt/charts/style1546.xml" ContentType="application/vnd.ms-office.chartstyle+xml"/>
  <Override PartName="/ppt/charts/style1547.xml" ContentType="application/vnd.ms-office.chartstyle+xml"/>
  <Override PartName="/ppt/charts/style1548.xml" ContentType="application/vnd.ms-office.chartstyle+xml"/>
  <Override PartName="/ppt/charts/style1549.xml" ContentType="application/vnd.ms-office.chartstyle+xml"/>
  <Override PartName="/ppt/charts/style155.xml" ContentType="application/vnd.ms-office.chartstyle+xml"/>
  <Override PartName="/ppt/charts/style1550.xml" ContentType="application/vnd.ms-office.chartstyle+xml"/>
  <Override PartName="/ppt/charts/style1551.xml" ContentType="application/vnd.ms-office.chartstyle+xml"/>
  <Override PartName="/ppt/charts/style1552.xml" ContentType="application/vnd.ms-office.chartstyle+xml"/>
  <Override PartName="/ppt/charts/style1553.xml" ContentType="application/vnd.ms-office.chartstyle+xml"/>
  <Override PartName="/ppt/charts/style1554.xml" ContentType="application/vnd.ms-office.chartstyle+xml"/>
  <Override PartName="/ppt/charts/style1555.xml" ContentType="application/vnd.ms-office.chartstyle+xml"/>
  <Override PartName="/ppt/charts/style1556.xml" ContentType="application/vnd.ms-office.chartstyle+xml"/>
  <Override PartName="/ppt/charts/style1557.xml" ContentType="application/vnd.ms-office.chartstyle+xml"/>
  <Override PartName="/ppt/charts/style1558.xml" ContentType="application/vnd.ms-office.chartstyle+xml"/>
  <Override PartName="/ppt/charts/style1559.xml" ContentType="application/vnd.ms-office.chartstyle+xml"/>
  <Override PartName="/ppt/charts/style156.xml" ContentType="application/vnd.ms-office.chartstyle+xml"/>
  <Override PartName="/ppt/charts/style1560.xml" ContentType="application/vnd.ms-office.chartstyle+xml"/>
  <Override PartName="/ppt/charts/style1561.xml" ContentType="application/vnd.ms-office.chartstyle+xml"/>
  <Override PartName="/ppt/charts/style1562.xml" ContentType="application/vnd.ms-office.chartstyle+xml"/>
  <Override PartName="/ppt/charts/style1563.xml" ContentType="application/vnd.ms-office.chartstyle+xml"/>
  <Override PartName="/ppt/charts/style1564.xml" ContentType="application/vnd.ms-office.chartstyle+xml"/>
  <Override PartName="/ppt/charts/style1565.xml" ContentType="application/vnd.ms-office.chartstyle+xml"/>
  <Override PartName="/ppt/charts/style1566.xml" ContentType="application/vnd.ms-office.chartstyle+xml"/>
  <Override PartName="/ppt/charts/style1567.xml" ContentType="application/vnd.ms-office.chartstyle+xml"/>
  <Override PartName="/ppt/charts/style1568.xml" ContentType="application/vnd.ms-office.chartstyle+xml"/>
  <Override PartName="/ppt/charts/style1569.xml" ContentType="application/vnd.ms-office.chartstyle+xml"/>
  <Override PartName="/ppt/charts/style157.xml" ContentType="application/vnd.ms-office.chartstyle+xml"/>
  <Override PartName="/ppt/charts/style1570.xml" ContentType="application/vnd.ms-office.chartstyle+xml"/>
  <Override PartName="/ppt/charts/style1571.xml" ContentType="application/vnd.ms-office.chartstyle+xml"/>
  <Override PartName="/ppt/charts/style1572.xml" ContentType="application/vnd.ms-office.chartstyle+xml"/>
  <Override PartName="/ppt/charts/style1573.xml" ContentType="application/vnd.ms-office.chartstyle+xml"/>
  <Override PartName="/ppt/charts/style1574.xml" ContentType="application/vnd.ms-office.chartstyle+xml"/>
  <Override PartName="/ppt/charts/style1575.xml" ContentType="application/vnd.ms-office.chartstyle+xml"/>
  <Override PartName="/ppt/charts/style1576.xml" ContentType="application/vnd.ms-office.chartstyle+xml"/>
  <Override PartName="/ppt/charts/style1577.xml" ContentType="application/vnd.ms-office.chartstyle+xml"/>
  <Override PartName="/ppt/charts/style1578.xml" ContentType="application/vnd.ms-office.chartstyle+xml"/>
  <Override PartName="/ppt/charts/style1579.xml" ContentType="application/vnd.ms-office.chartstyle+xml"/>
  <Override PartName="/ppt/charts/style158.xml" ContentType="application/vnd.ms-office.chartstyle+xml"/>
  <Override PartName="/ppt/charts/style1580.xml" ContentType="application/vnd.ms-office.chartstyle+xml"/>
  <Override PartName="/ppt/charts/style1581.xml" ContentType="application/vnd.ms-office.chartstyle+xml"/>
  <Override PartName="/ppt/charts/style1582.xml" ContentType="application/vnd.ms-office.chartstyle+xml"/>
  <Override PartName="/ppt/charts/style1583.xml" ContentType="application/vnd.ms-office.chartstyle+xml"/>
  <Override PartName="/ppt/charts/style1584.xml" ContentType="application/vnd.ms-office.chartstyle+xml"/>
  <Override PartName="/ppt/charts/style1585.xml" ContentType="application/vnd.ms-office.chartstyle+xml"/>
  <Override PartName="/ppt/charts/style1586.xml" ContentType="application/vnd.ms-office.chartstyle+xml"/>
  <Override PartName="/ppt/charts/style1587.xml" ContentType="application/vnd.ms-office.chartstyle+xml"/>
  <Override PartName="/ppt/charts/style1588.xml" ContentType="application/vnd.ms-office.chartstyle+xml"/>
  <Override PartName="/ppt/charts/style1589.xml" ContentType="application/vnd.ms-office.chartstyle+xml"/>
  <Override PartName="/ppt/charts/style159.xml" ContentType="application/vnd.ms-office.chartstyle+xml"/>
  <Override PartName="/ppt/charts/style1590.xml" ContentType="application/vnd.ms-office.chartstyle+xml"/>
  <Override PartName="/ppt/charts/style1591.xml" ContentType="application/vnd.ms-office.chartstyle+xml"/>
  <Override PartName="/ppt/charts/style1592.xml" ContentType="application/vnd.ms-office.chartstyle+xml"/>
  <Override PartName="/ppt/charts/style1593.xml" ContentType="application/vnd.ms-office.chartstyle+xml"/>
  <Override PartName="/ppt/charts/style1594.xml" ContentType="application/vnd.ms-office.chartstyle+xml"/>
  <Override PartName="/ppt/charts/style1595.xml" ContentType="application/vnd.ms-office.chartstyle+xml"/>
  <Override PartName="/ppt/charts/style1596.xml" ContentType="application/vnd.ms-office.chartstyle+xml"/>
  <Override PartName="/ppt/charts/style1597.xml" ContentType="application/vnd.ms-office.chartstyle+xml"/>
  <Override PartName="/ppt/charts/style1598.xml" ContentType="application/vnd.ms-office.chartstyle+xml"/>
  <Override PartName="/ppt/charts/style1599.xml" ContentType="application/vnd.ms-office.chartstyle+xml"/>
  <Override PartName="/ppt/charts/style16.xml" ContentType="application/vnd.ms-office.chartstyle+xml"/>
  <Override PartName="/ppt/charts/style160.xml" ContentType="application/vnd.ms-office.chartstyle+xml"/>
  <Override PartName="/ppt/charts/style1600.xml" ContentType="application/vnd.ms-office.chartstyle+xml"/>
  <Override PartName="/ppt/charts/style1601.xml" ContentType="application/vnd.ms-office.chartstyle+xml"/>
  <Override PartName="/ppt/charts/style1602.xml" ContentType="application/vnd.ms-office.chartstyle+xml"/>
  <Override PartName="/ppt/charts/style1603.xml" ContentType="application/vnd.ms-office.chartstyle+xml"/>
  <Override PartName="/ppt/charts/style1604.xml" ContentType="application/vnd.ms-office.chartstyle+xml"/>
  <Override PartName="/ppt/charts/style1605.xml" ContentType="application/vnd.ms-office.chartstyle+xml"/>
  <Override PartName="/ppt/charts/style1606.xml" ContentType="application/vnd.ms-office.chartstyle+xml"/>
  <Override PartName="/ppt/charts/style1607.xml" ContentType="application/vnd.ms-office.chartstyle+xml"/>
  <Override PartName="/ppt/charts/style1608.xml" ContentType="application/vnd.ms-office.chartstyle+xml"/>
  <Override PartName="/ppt/charts/style1609.xml" ContentType="application/vnd.ms-office.chartstyle+xml"/>
  <Override PartName="/ppt/charts/style161.xml" ContentType="application/vnd.ms-office.chartstyle+xml"/>
  <Override PartName="/ppt/charts/style1610.xml" ContentType="application/vnd.ms-office.chartstyle+xml"/>
  <Override PartName="/ppt/charts/style1611.xml" ContentType="application/vnd.ms-office.chartstyle+xml"/>
  <Override PartName="/ppt/charts/style1612.xml" ContentType="application/vnd.ms-office.chartstyle+xml"/>
  <Override PartName="/ppt/charts/style1613.xml" ContentType="application/vnd.ms-office.chartstyle+xml"/>
  <Override PartName="/ppt/charts/style1614.xml" ContentType="application/vnd.ms-office.chartstyle+xml"/>
  <Override PartName="/ppt/charts/style1615.xml" ContentType="application/vnd.ms-office.chartstyle+xml"/>
  <Override PartName="/ppt/charts/style1616.xml" ContentType="application/vnd.ms-office.chartstyle+xml"/>
  <Override PartName="/ppt/charts/style1617.xml" ContentType="application/vnd.ms-office.chartstyle+xml"/>
  <Override PartName="/ppt/charts/style1618.xml" ContentType="application/vnd.ms-office.chartstyle+xml"/>
  <Override PartName="/ppt/charts/style1619.xml" ContentType="application/vnd.ms-office.chartstyle+xml"/>
  <Override PartName="/ppt/charts/style162.xml" ContentType="application/vnd.ms-office.chartstyle+xml"/>
  <Override PartName="/ppt/charts/style1620.xml" ContentType="application/vnd.ms-office.chartstyle+xml"/>
  <Override PartName="/ppt/charts/style1621.xml" ContentType="application/vnd.ms-office.chartstyle+xml"/>
  <Override PartName="/ppt/charts/style1622.xml" ContentType="application/vnd.ms-office.chartstyle+xml"/>
  <Override PartName="/ppt/charts/style1623.xml" ContentType="application/vnd.ms-office.chartstyle+xml"/>
  <Override PartName="/ppt/charts/style1624.xml" ContentType="application/vnd.ms-office.chartstyle+xml"/>
  <Override PartName="/ppt/charts/style1625.xml" ContentType="application/vnd.ms-office.chartstyle+xml"/>
  <Override PartName="/ppt/charts/style1626.xml" ContentType="application/vnd.ms-office.chartstyle+xml"/>
  <Override PartName="/ppt/charts/style1627.xml" ContentType="application/vnd.ms-office.chartstyle+xml"/>
  <Override PartName="/ppt/charts/style1628.xml" ContentType="application/vnd.ms-office.chartstyle+xml"/>
  <Override PartName="/ppt/charts/style1629.xml" ContentType="application/vnd.ms-office.chartstyle+xml"/>
  <Override PartName="/ppt/charts/style163.xml" ContentType="application/vnd.ms-office.chartstyle+xml"/>
  <Override PartName="/ppt/charts/style1630.xml" ContentType="application/vnd.ms-office.chartstyle+xml"/>
  <Override PartName="/ppt/charts/style1631.xml" ContentType="application/vnd.ms-office.chartstyle+xml"/>
  <Override PartName="/ppt/charts/style1632.xml" ContentType="application/vnd.ms-office.chartstyle+xml"/>
  <Override PartName="/ppt/charts/style1633.xml" ContentType="application/vnd.ms-office.chartstyle+xml"/>
  <Override PartName="/ppt/charts/style1634.xml" ContentType="application/vnd.ms-office.chartstyle+xml"/>
  <Override PartName="/ppt/charts/style1635.xml" ContentType="application/vnd.ms-office.chartstyle+xml"/>
  <Override PartName="/ppt/charts/style1636.xml" ContentType="application/vnd.ms-office.chartstyle+xml"/>
  <Override PartName="/ppt/charts/style1637.xml" ContentType="application/vnd.ms-office.chartstyle+xml"/>
  <Override PartName="/ppt/charts/style1638.xml" ContentType="application/vnd.ms-office.chartstyle+xml"/>
  <Override PartName="/ppt/charts/style1639.xml" ContentType="application/vnd.ms-office.chartstyle+xml"/>
  <Override PartName="/ppt/charts/style164.xml" ContentType="application/vnd.ms-office.chartstyle+xml"/>
  <Override PartName="/ppt/charts/style1640.xml" ContentType="application/vnd.ms-office.chartstyle+xml"/>
  <Override PartName="/ppt/charts/style1641.xml" ContentType="application/vnd.ms-office.chartstyle+xml"/>
  <Override PartName="/ppt/charts/style1642.xml" ContentType="application/vnd.ms-office.chartstyle+xml"/>
  <Override PartName="/ppt/charts/style1643.xml" ContentType="application/vnd.ms-office.chartstyle+xml"/>
  <Override PartName="/ppt/charts/style1644.xml" ContentType="application/vnd.ms-office.chartstyle+xml"/>
  <Override PartName="/ppt/charts/style1645.xml" ContentType="application/vnd.ms-office.chartstyle+xml"/>
  <Override PartName="/ppt/charts/style1646.xml" ContentType="application/vnd.ms-office.chartstyle+xml"/>
  <Override PartName="/ppt/charts/style1647.xml" ContentType="application/vnd.ms-office.chartstyle+xml"/>
  <Override PartName="/ppt/charts/style1648.xml" ContentType="application/vnd.ms-office.chartstyle+xml"/>
  <Override PartName="/ppt/charts/style1649.xml" ContentType="application/vnd.ms-office.chartstyle+xml"/>
  <Override PartName="/ppt/charts/style165.xml" ContentType="application/vnd.ms-office.chartstyle+xml"/>
  <Override PartName="/ppt/charts/style1650.xml" ContentType="application/vnd.ms-office.chartstyle+xml"/>
  <Override PartName="/ppt/charts/style1651.xml" ContentType="application/vnd.ms-office.chartstyle+xml"/>
  <Override PartName="/ppt/charts/style1652.xml" ContentType="application/vnd.ms-office.chartstyle+xml"/>
  <Override PartName="/ppt/charts/style1653.xml" ContentType="application/vnd.ms-office.chartstyle+xml"/>
  <Override PartName="/ppt/charts/style1654.xml" ContentType="application/vnd.ms-office.chartstyle+xml"/>
  <Override PartName="/ppt/charts/style1655.xml" ContentType="application/vnd.ms-office.chartstyle+xml"/>
  <Override PartName="/ppt/charts/style1656.xml" ContentType="application/vnd.ms-office.chartstyle+xml"/>
  <Override PartName="/ppt/charts/style1657.xml" ContentType="application/vnd.ms-office.chartstyle+xml"/>
  <Override PartName="/ppt/charts/style1658.xml" ContentType="application/vnd.ms-office.chartstyle+xml"/>
  <Override PartName="/ppt/charts/style1659.xml" ContentType="application/vnd.ms-office.chartstyle+xml"/>
  <Override PartName="/ppt/charts/style166.xml" ContentType="application/vnd.ms-office.chartstyle+xml"/>
  <Override PartName="/ppt/charts/style1660.xml" ContentType="application/vnd.ms-office.chartstyle+xml"/>
  <Override PartName="/ppt/charts/style1661.xml" ContentType="application/vnd.ms-office.chartstyle+xml"/>
  <Override PartName="/ppt/charts/style1662.xml" ContentType="application/vnd.ms-office.chartstyle+xml"/>
  <Override PartName="/ppt/charts/style1663.xml" ContentType="application/vnd.ms-office.chartstyle+xml"/>
  <Override PartName="/ppt/charts/style1664.xml" ContentType="application/vnd.ms-office.chartstyle+xml"/>
  <Override PartName="/ppt/charts/style1665.xml" ContentType="application/vnd.ms-office.chartstyle+xml"/>
  <Override PartName="/ppt/charts/style1666.xml" ContentType="application/vnd.ms-office.chartstyle+xml"/>
  <Override PartName="/ppt/charts/style1667.xml" ContentType="application/vnd.ms-office.chartstyle+xml"/>
  <Override PartName="/ppt/charts/style1668.xml" ContentType="application/vnd.ms-office.chartstyle+xml"/>
  <Override PartName="/ppt/charts/style1669.xml" ContentType="application/vnd.ms-office.chartstyle+xml"/>
  <Override PartName="/ppt/charts/style167.xml" ContentType="application/vnd.ms-office.chartstyle+xml"/>
  <Override PartName="/ppt/charts/style1670.xml" ContentType="application/vnd.ms-office.chartstyle+xml"/>
  <Override PartName="/ppt/charts/style1671.xml" ContentType="application/vnd.ms-office.chartstyle+xml"/>
  <Override PartName="/ppt/charts/style1672.xml" ContentType="application/vnd.ms-office.chartstyle+xml"/>
  <Override PartName="/ppt/charts/style1673.xml" ContentType="application/vnd.ms-office.chartstyle+xml"/>
  <Override PartName="/ppt/charts/style1674.xml" ContentType="application/vnd.ms-office.chartstyle+xml"/>
  <Override PartName="/ppt/charts/style1675.xml" ContentType="application/vnd.ms-office.chartstyle+xml"/>
  <Override PartName="/ppt/charts/style1676.xml" ContentType="application/vnd.ms-office.chartstyle+xml"/>
  <Override PartName="/ppt/charts/style1677.xml" ContentType="application/vnd.ms-office.chartstyle+xml"/>
  <Override PartName="/ppt/charts/style1678.xml" ContentType="application/vnd.ms-office.chartstyle+xml"/>
  <Override PartName="/ppt/charts/style1679.xml" ContentType="application/vnd.ms-office.chartstyle+xml"/>
  <Override PartName="/ppt/charts/style168.xml" ContentType="application/vnd.ms-office.chartstyle+xml"/>
  <Override PartName="/ppt/charts/style1680.xml" ContentType="application/vnd.ms-office.chartstyle+xml"/>
  <Override PartName="/ppt/charts/style1681.xml" ContentType="application/vnd.ms-office.chartstyle+xml"/>
  <Override PartName="/ppt/charts/style1682.xml" ContentType="application/vnd.ms-office.chartstyle+xml"/>
  <Override PartName="/ppt/charts/style1683.xml" ContentType="application/vnd.ms-office.chartstyle+xml"/>
  <Override PartName="/ppt/charts/style1684.xml" ContentType="application/vnd.ms-office.chartstyle+xml"/>
  <Override PartName="/ppt/charts/style1685.xml" ContentType="application/vnd.ms-office.chartstyle+xml"/>
  <Override PartName="/ppt/charts/style1686.xml" ContentType="application/vnd.ms-office.chartstyle+xml"/>
  <Override PartName="/ppt/charts/style1687.xml" ContentType="application/vnd.ms-office.chartstyle+xml"/>
  <Override PartName="/ppt/charts/style1688.xml" ContentType="application/vnd.ms-office.chartstyle+xml"/>
  <Override PartName="/ppt/charts/style1689.xml" ContentType="application/vnd.ms-office.chartstyle+xml"/>
  <Override PartName="/ppt/charts/style169.xml" ContentType="application/vnd.ms-office.chartstyle+xml"/>
  <Override PartName="/ppt/charts/style1690.xml" ContentType="application/vnd.ms-office.chartstyle+xml"/>
  <Override PartName="/ppt/charts/style1691.xml" ContentType="application/vnd.ms-office.chartstyle+xml"/>
  <Override PartName="/ppt/charts/style1692.xml" ContentType="application/vnd.ms-office.chartstyle+xml"/>
  <Override PartName="/ppt/charts/style1693.xml" ContentType="application/vnd.ms-office.chartstyle+xml"/>
  <Override PartName="/ppt/charts/style1694.xml" ContentType="application/vnd.ms-office.chartstyle+xml"/>
  <Override PartName="/ppt/charts/style1695.xml" ContentType="application/vnd.ms-office.chartstyle+xml"/>
  <Override PartName="/ppt/charts/style1696.xml" ContentType="application/vnd.ms-office.chartstyle+xml"/>
  <Override PartName="/ppt/charts/style1697.xml" ContentType="application/vnd.ms-office.chartstyle+xml"/>
  <Override PartName="/ppt/charts/style1698.xml" ContentType="application/vnd.ms-office.chartstyle+xml"/>
  <Override PartName="/ppt/charts/style1699.xml" ContentType="application/vnd.ms-office.chartstyle+xml"/>
  <Override PartName="/ppt/charts/style17.xml" ContentType="application/vnd.ms-office.chartstyle+xml"/>
  <Override PartName="/ppt/charts/style170.xml" ContentType="application/vnd.ms-office.chartstyle+xml"/>
  <Override PartName="/ppt/charts/style1700.xml" ContentType="application/vnd.ms-office.chartstyle+xml"/>
  <Override PartName="/ppt/charts/style1701.xml" ContentType="application/vnd.ms-office.chartstyle+xml"/>
  <Override PartName="/ppt/charts/style1702.xml" ContentType="application/vnd.ms-office.chartstyle+xml"/>
  <Override PartName="/ppt/charts/style1703.xml" ContentType="application/vnd.ms-office.chartstyle+xml"/>
  <Override PartName="/ppt/charts/style1704.xml" ContentType="application/vnd.ms-office.chartstyle+xml"/>
  <Override PartName="/ppt/charts/style1705.xml" ContentType="application/vnd.ms-office.chartstyle+xml"/>
  <Override PartName="/ppt/charts/style1706.xml" ContentType="application/vnd.ms-office.chartstyle+xml"/>
  <Override PartName="/ppt/charts/style1707.xml" ContentType="application/vnd.ms-office.chartstyle+xml"/>
  <Override PartName="/ppt/charts/style1708.xml" ContentType="application/vnd.ms-office.chartstyle+xml"/>
  <Override PartName="/ppt/charts/style1709.xml" ContentType="application/vnd.ms-office.chartstyle+xml"/>
  <Override PartName="/ppt/charts/style171.xml" ContentType="application/vnd.ms-office.chartstyle+xml"/>
  <Override PartName="/ppt/charts/style1710.xml" ContentType="application/vnd.ms-office.chartstyle+xml"/>
  <Override PartName="/ppt/charts/style1711.xml" ContentType="application/vnd.ms-office.chartstyle+xml"/>
  <Override PartName="/ppt/charts/style1712.xml" ContentType="application/vnd.ms-office.chartstyle+xml"/>
  <Override PartName="/ppt/charts/style1713.xml" ContentType="application/vnd.ms-office.chartstyle+xml"/>
  <Override PartName="/ppt/charts/style1714.xml" ContentType="application/vnd.ms-office.chartstyle+xml"/>
  <Override PartName="/ppt/charts/style1715.xml" ContentType="application/vnd.ms-office.chartstyle+xml"/>
  <Override PartName="/ppt/charts/style1716.xml" ContentType="application/vnd.ms-office.chartstyle+xml"/>
  <Override PartName="/ppt/charts/style1717.xml" ContentType="application/vnd.ms-office.chartstyle+xml"/>
  <Override PartName="/ppt/charts/style1718.xml" ContentType="application/vnd.ms-office.chartstyle+xml"/>
  <Override PartName="/ppt/charts/style1719.xml" ContentType="application/vnd.ms-office.chartstyle+xml"/>
  <Override PartName="/ppt/charts/style172.xml" ContentType="application/vnd.ms-office.chartstyle+xml"/>
  <Override PartName="/ppt/charts/style1720.xml" ContentType="application/vnd.ms-office.chartstyle+xml"/>
  <Override PartName="/ppt/charts/style1721.xml" ContentType="application/vnd.ms-office.chartstyle+xml"/>
  <Override PartName="/ppt/charts/style1722.xml" ContentType="application/vnd.ms-office.chartstyle+xml"/>
  <Override PartName="/ppt/charts/style1723.xml" ContentType="application/vnd.ms-office.chartstyle+xml"/>
  <Override PartName="/ppt/charts/style1724.xml" ContentType="application/vnd.ms-office.chartstyle+xml"/>
  <Override PartName="/ppt/charts/style1725.xml" ContentType="application/vnd.ms-office.chartstyle+xml"/>
  <Override PartName="/ppt/charts/style1726.xml" ContentType="application/vnd.ms-office.chartstyle+xml"/>
  <Override PartName="/ppt/charts/style1727.xml" ContentType="application/vnd.ms-office.chartstyle+xml"/>
  <Override PartName="/ppt/charts/style1728.xml" ContentType="application/vnd.ms-office.chartstyle+xml"/>
  <Override PartName="/ppt/charts/style1729.xml" ContentType="application/vnd.ms-office.chartstyle+xml"/>
  <Override PartName="/ppt/charts/style173.xml" ContentType="application/vnd.ms-office.chartstyle+xml"/>
  <Override PartName="/ppt/charts/style1730.xml" ContentType="application/vnd.ms-office.chartstyle+xml"/>
  <Override PartName="/ppt/charts/style1731.xml" ContentType="application/vnd.ms-office.chartstyle+xml"/>
  <Override PartName="/ppt/charts/style1732.xml" ContentType="application/vnd.ms-office.chartstyle+xml"/>
  <Override PartName="/ppt/charts/style1733.xml" ContentType="application/vnd.ms-office.chartstyle+xml"/>
  <Override PartName="/ppt/charts/style1734.xml" ContentType="application/vnd.ms-office.chartstyle+xml"/>
  <Override PartName="/ppt/charts/style1735.xml" ContentType="application/vnd.ms-office.chartstyle+xml"/>
  <Override PartName="/ppt/charts/style1736.xml" ContentType="application/vnd.ms-office.chartstyle+xml"/>
  <Override PartName="/ppt/charts/style1737.xml" ContentType="application/vnd.ms-office.chartstyle+xml"/>
  <Override PartName="/ppt/charts/style1738.xml" ContentType="application/vnd.ms-office.chartstyle+xml"/>
  <Override PartName="/ppt/charts/style1739.xml" ContentType="application/vnd.ms-office.chartstyle+xml"/>
  <Override PartName="/ppt/charts/style174.xml" ContentType="application/vnd.ms-office.chartstyle+xml"/>
  <Override PartName="/ppt/charts/style1740.xml" ContentType="application/vnd.ms-office.chartstyle+xml"/>
  <Override PartName="/ppt/charts/style1741.xml" ContentType="application/vnd.ms-office.chartstyle+xml"/>
  <Override PartName="/ppt/charts/style1742.xml" ContentType="application/vnd.ms-office.chartstyle+xml"/>
  <Override PartName="/ppt/charts/style1743.xml" ContentType="application/vnd.ms-office.chartstyle+xml"/>
  <Override PartName="/ppt/charts/style1744.xml" ContentType="application/vnd.ms-office.chartstyle+xml"/>
  <Override PartName="/ppt/charts/style1745.xml" ContentType="application/vnd.ms-office.chartstyle+xml"/>
  <Override PartName="/ppt/charts/style1746.xml" ContentType="application/vnd.ms-office.chartstyle+xml"/>
  <Override PartName="/ppt/charts/style1747.xml" ContentType="application/vnd.ms-office.chartstyle+xml"/>
  <Override PartName="/ppt/charts/style1748.xml" ContentType="application/vnd.ms-office.chartstyle+xml"/>
  <Override PartName="/ppt/charts/style1749.xml" ContentType="application/vnd.ms-office.chartstyle+xml"/>
  <Override PartName="/ppt/charts/style175.xml" ContentType="application/vnd.ms-office.chartstyle+xml"/>
  <Override PartName="/ppt/charts/style1750.xml" ContentType="application/vnd.ms-office.chartstyle+xml"/>
  <Override PartName="/ppt/charts/style1751.xml" ContentType="application/vnd.ms-office.chartstyle+xml"/>
  <Override PartName="/ppt/charts/style1752.xml" ContentType="application/vnd.ms-office.chartstyle+xml"/>
  <Override PartName="/ppt/charts/style1753.xml" ContentType="application/vnd.ms-office.chartstyle+xml"/>
  <Override PartName="/ppt/charts/style1754.xml" ContentType="application/vnd.ms-office.chartstyle+xml"/>
  <Override PartName="/ppt/charts/style1755.xml" ContentType="application/vnd.ms-office.chartstyle+xml"/>
  <Override PartName="/ppt/charts/style1756.xml" ContentType="application/vnd.ms-office.chartstyle+xml"/>
  <Override PartName="/ppt/charts/style1757.xml" ContentType="application/vnd.ms-office.chartstyle+xml"/>
  <Override PartName="/ppt/charts/style1758.xml" ContentType="application/vnd.ms-office.chartstyle+xml"/>
  <Override PartName="/ppt/charts/style1759.xml" ContentType="application/vnd.ms-office.chartstyle+xml"/>
  <Override PartName="/ppt/charts/style176.xml" ContentType="application/vnd.ms-office.chartstyle+xml"/>
  <Override PartName="/ppt/charts/style1760.xml" ContentType="application/vnd.ms-office.chartstyle+xml"/>
  <Override PartName="/ppt/charts/style1761.xml" ContentType="application/vnd.ms-office.chartstyle+xml"/>
  <Override PartName="/ppt/charts/style1762.xml" ContentType="application/vnd.ms-office.chartstyle+xml"/>
  <Override PartName="/ppt/charts/style1763.xml" ContentType="application/vnd.ms-office.chartstyle+xml"/>
  <Override PartName="/ppt/charts/style1764.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17.xml" ContentType="application/vnd.ms-office.chartstyle+xml"/>
  <Override PartName="/ppt/charts/style818.xml" ContentType="application/vnd.ms-office.chartstyle+xml"/>
  <Override PartName="/ppt/charts/style819.xml" ContentType="application/vnd.ms-office.chartstyle+xml"/>
  <Override PartName="/ppt/charts/style82.xml" ContentType="application/vnd.ms-office.chartstyle+xml"/>
  <Override PartName="/ppt/charts/style820.xml" ContentType="application/vnd.ms-office.chartstyle+xml"/>
  <Override PartName="/ppt/charts/style821.xml" ContentType="application/vnd.ms-office.chartstyle+xml"/>
  <Override PartName="/ppt/charts/style822.xml" ContentType="application/vnd.ms-office.chartstyle+xml"/>
  <Override PartName="/ppt/charts/style823.xml" ContentType="application/vnd.ms-office.chartstyle+xml"/>
  <Override PartName="/ppt/charts/style824.xml" ContentType="application/vnd.ms-office.chartstyle+xml"/>
  <Override PartName="/ppt/charts/style825.xml" ContentType="application/vnd.ms-office.chartstyle+xml"/>
  <Override PartName="/ppt/charts/style826.xml" ContentType="application/vnd.ms-office.chartstyle+xml"/>
  <Override PartName="/ppt/charts/style827.xml" ContentType="application/vnd.ms-office.chartstyle+xml"/>
  <Override PartName="/ppt/charts/style828.xml" ContentType="application/vnd.ms-office.chartstyle+xml"/>
  <Override PartName="/ppt/charts/style829.xml" ContentType="application/vnd.ms-office.chartstyle+xml"/>
  <Override PartName="/ppt/charts/style83.xml" ContentType="application/vnd.ms-office.chartstyle+xml"/>
  <Override PartName="/ppt/charts/style830.xml" ContentType="application/vnd.ms-office.chartstyle+xml"/>
  <Override PartName="/ppt/charts/style831.xml" ContentType="application/vnd.ms-office.chartstyle+xml"/>
  <Override PartName="/ppt/charts/style832.xml" ContentType="application/vnd.ms-office.chartstyle+xml"/>
  <Override PartName="/ppt/charts/style833.xml" ContentType="application/vnd.ms-office.chartstyle+xml"/>
  <Override PartName="/ppt/charts/style834.xml" ContentType="application/vnd.ms-office.chartstyle+xml"/>
  <Override PartName="/ppt/charts/style835.xml" ContentType="application/vnd.ms-office.chartstyle+xml"/>
  <Override PartName="/ppt/charts/style836.xml" ContentType="application/vnd.ms-office.chartstyle+xml"/>
  <Override PartName="/ppt/charts/style837.xml" ContentType="application/vnd.ms-office.chartstyle+xml"/>
  <Override PartName="/ppt/charts/style838.xml" ContentType="application/vnd.ms-office.chartstyle+xml"/>
  <Override PartName="/ppt/charts/style839.xml" ContentType="application/vnd.ms-office.chartstyle+xml"/>
  <Override PartName="/ppt/charts/style84.xml" ContentType="application/vnd.ms-office.chartstyle+xml"/>
  <Override PartName="/ppt/charts/style840.xml" ContentType="application/vnd.ms-office.chartstyle+xml"/>
  <Override PartName="/ppt/charts/style841.xml" ContentType="application/vnd.ms-office.chartstyle+xml"/>
  <Override PartName="/ppt/charts/style842.xml" ContentType="application/vnd.ms-office.chartstyle+xml"/>
  <Override PartName="/ppt/charts/style843.xml" ContentType="application/vnd.ms-office.chartstyle+xml"/>
  <Override PartName="/ppt/charts/style844.xml" ContentType="application/vnd.ms-office.chartstyle+xml"/>
  <Override PartName="/ppt/charts/style845.xml" ContentType="application/vnd.ms-office.chartstyle+xml"/>
  <Override PartName="/ppt/charts/style846.xml" ContentType="application/vnd.ms-office.chartstyle+xml"/>
  <Override PartName="/ppt/charts/style847.xml" ContentType="application/vnd.ms-office.chartstyle+xml"/>
  <Override PartName="/ppt/charts/style848.xml" ContentType="application/vnd.ms-office.chartstyle+xml"/>
  <Override PartName="/ppt/charts/style849.xml" ContentType="application/vnd.ms-office.chartstyle+xml"/>
  <Override PartName="/ppt/charts/style85.xml" ContentType="application/vnd.ms-office.chartstyle+xml"/>
  <Override PartName="/ppt/charts/style850.xml" ContentType="application/vnd.ms-office.chartstyle+xml"/>
  <Override PartName="/ppt/charts/style851.xml" ContentType="application/vnd.ms-office.chartstyle+xml"/>
  <Override PartName="/ppt/charts/style852.xml" ContentType="application/vnd.ms-office.chartstyle+xml"/>
  <Override PartName="/ppt/charts/style853.xml" ContentType="application/vnd.ms-office.chartstyle+xml"/>
  <Override PartName="/ppt/charts/style854.xml" ContentType="application/vnd.ms-office.chartstyle+xml"/>
  <Override PartName="/ppt/charts/style855.xml" ContentType="application/vnd.ms-office.chartstyle+xml"/>
  <Override PartName="/ppt/charts/style856.xml" ContentType="application/vnd.ms-office.chartstyle+xml"/>
  <Override PartName="/ppt/charts/style857.xml" ContentType="application/vnd.ms-office.chartstyle+xml"/>
  <Override PartName="/ppt/charts/style858.xml" ContentType="application/vnd.ms-office.chartstyle+xml"/>
  <Override PartName="/ppt/charts/style859.xml" ContentType="application/vnd.ms-office.chartstyle+xml"/>
  <Override PartName="/ppt/charts/style86.xml" ContentType="application/vnd.ms-office.chartstyle+xml"/>
  <Override PartName="/ppt/charts/style860.xml" ContentType="application/vnd.ms-office.chartstyle+xml"/>
  <Override PartName="/ppt/charts/style861.xml" ContentType="application/vnd.ms-office.chartstyle+xml"/>
  <Override PartName="/ppt/charts/style862.xml" ContentType="application/vnd.ms-office.chartstyle+xml"/>
  <Override PartName="/ppt/charts/style863.xml" ContentType="application/vnd.ms-office.chartstyle+xml"/>
  <Override PartName="/ppt/charts/style864.xml" ContentType="application/vnd.ms-office.chartstyle+xml"/>
  <Override PartName="/ppt/charts/style865.xml" ContentType="application/vnd.ms-office.chartstyle+xml"/>
  <Override PartName="/ppt/charts/style866.xml" ContentType="application/vnd.ms-office.chartstyle+xml"/>
  <Override PartName="/ppt/charts/style867.xml" ContentType="application/vnd.ms-office.chartstyle+xml"/>
  <Override PartName="/ppt/charts/style868.xml" ContentType="application/vnd.ms-office.chartstyle+xml"/>
  <Override PartName="/ppt/charts/style869.xml" ContentType="application/vnd.ms-office.chartstyle+xml"/>
  <Override PartName="/ppt/charts/style87.xml" ContentType="application/vnd.ms-office.chartstyle+xml"/>
  <Override PartName="/ppt/charts/style870.xml" ContentType="application/vnd.ms-office.chartstyle+xml"/>
  <Override PartName="/ppt/charts/style871.xml" ContentType="application/vnd.ms-office.chartstyle+xml"/>
  <Override PartName="/ppt/charts/style872.xml" ContentType="application/vnd.ms-office.chartstyle+xml"/>
  <Override PartName="/ppt/charts/style873.xml" ContentType="application/vnd.ms-office.chartstyle+xml"/>
  <Override PartName="/ppt/charts/style874.xml" ContentType="application/vnd.ms-office.chartstyle+xml"/>
  <Override PartName="/ppt/charts/style875.xml" ContentType="application/vnd.ms-office.chartstyle+xml"/>
  <Override PartName="/ppt/charts/style876.xml" ContentType="application/vnd.ms-office.chartstyle+xml"/>
  <Override PartName="/ppt/charts/style877.xml" ContentType="application/vnd.ms-office.chartstyle+xml"/>
  <Override PartName="/ppt/charts/style878.xml" ContentType="application/vnd.ms-office.chartstyle+xml"/>
  <Override PartName="/ppt/charts/style879.xml" ContentType="application/vnd.ms-office.chartstyle+xml"/>
  <Override PartName="/ppt/charts/style88.xml" ContentType="application/vnd.ms-office.chartstyle+xml"/>
  <Override PartName="/ppt/charts/style880.xml" ContentType="application/vnd.ms-office.chartstyle+xml"/>
  <Override PartName="/ppt/charts/style881.xml" ContentType="application/vnd.ms-office.chartstyle+xml"/>
  <Override PartName="/ppt/charts/style882.xml" ContentType="application/vnd.ms-office.chartstyle+xml"/>
  <Override PartName="/ppt/charts/style883.xml" ContentType="application/vnd.ms-office.chartstyle+xml"/>
  <Override PartName="/ppt/charts/style884.xml" ContentType="application/vnd.ms-office.chartstyle+xml"/>
  <Override PartName="/ppt/charts/style885.xml" ContentType="application/vnd.ms-office.chartstyle+xml"/>
  <Override PartName="/ppt/charts/style886.xml" ContentType="application/vnd.ms-office.chartstyle+xml"/>
  <Override PartName="/ppt/charts/style887.xml" ContentType="application/vnd.ms-office.chartstyle+xml"/>
  <Override PartName="/ppt/charts/style888.xml" ContentType="application/vnd.ms-office.chartstyle+xml"/>
  <Override PartName="/ppt/charts/style889.xml" ContentType="application/vnd.ms-office.chartstyle+xml"/>
  <Override PartName="/ppt/charts/style89.xml" ContentType="application/vnd.ms-office.chartstyle+xml"/>
  <Override PartName="/ppt/charts/style890.xml" ContentType="application/vnd.ms-office.chartstyle+xml"/>
  <Override PartName="/ppt/charts/style891.xml" ContentType="application/vnd.ms-office.chartstyle+xml"/>
  <Override PartName="/ppt/charts/style892.xml" ContentType="application/vnd.ms-office.chartstyle+xml"/>
  <Override PartName="/ppt/charts/style893.xml" ContentType="application/vnd.ms-office.chartstyle+xml"/>
  <Override PartName="/ppt/charts/style894.xml" ContentType="application/vnd.ms-office.chartstyle+xml"/>
  <Override PartName="/ppt/charts/style895.xml" ContentType="application/vnd.ms-office.chartstyle+xml"/>
  <Override PartName="/ppt/charts/style896.xml" ContentType="application/vnd.ms-office.chartstyle+xml"/>
  <Override PartName="/ppt/charts/style897.xml" ContentType="application/vnd.ms-office.chartstyle+xml"/>
  <Override PartName="/ppt/charts/style898.xml" ContentType="application/vnd.ms-office.chartstyle+xml"/>
  <Override PartName="/ppt/charts/style899.xml" ContentType="application/vnd.ms-office.chartstyle+xml"/>
  <Override PartName="/ppt/charts/style9.xml" ContentType="application/vnd.ms-office.chartstyle+xml"/>
  <Override PartName="/ppt/charts/style90.xml" ContentType="application/vnd.ms-office.chartstyle+xml"/>
  <Override PartName="/ppt/charts/style900.xml" ContentType="application/vnd.ms-office.chartstyle+xml"/>
  <Override PartName="/ppt/charts/style901.xml" ContentType="application/vnd.ms-office.chartstyle+xml"/>
  <Override PartName="/ppt/charts/style902.xml" ContentType="application/vnd.ms-office.chartstyle+xml"/>
  <Override PartName="/ppt/charts/style903.xml" ContentType="application/vnd.ms-office.chartstyle+xml"/>
  <Override PartName="/ppt/charts/style904.xml" ContentType="application/vnd.ms-office.chartstyle+xml"/>
  <Override PartName="/ppt/charts/style905.xml" ContentType="application/vnd.ms-office.chartstyle+xml"/>
  <Override PartName="/ppt/charts/style906.xml" ContentType="application/vnd.ms-office.chartstyle+xml"/>
  <Override PartName="/ppt/charts/style907.xml" ContentType="application/vnd.ms-office.chartstyle+xml"/>
  <Override PartName="/ppt/charts/style908.xml" ContentType="application/vnd.ms-office.chartstyle+xml"/>
  <Override PartName="/ppt/charts/style909.xml" ContentType="application/vnd.ms-office.chartstyle+xml"/>
  <Override PartName="/ppt/charts/style91.xml" ContentType="application/vnd.ms-office.chartstyle+xml"/>
  <Override PartName="/ppt/charts/style910.xml" ContentType="application/vnd.ms-office.chartstyle+xml"/>
  <Override PartName="/ppt/charts/style911.xml" ContentType="application/vnd.ms-office.chartstyle+xml"/>
  <Override PartName="/ppt/charts/style912.xml" ContentType="application/vnd.ms-office.chartstyle+xml"/>
  <Override PartName="/ppt/charts/style913.xml" ContentType="application/vnd.ms-office.chartstyle+xml"/>
  <Override PartName="/ppt/charts/style914.xml" ContentType="application/vnd.ms-office.chartstyle+xml"/>
  <Override PartName="/ppt/charts/style915.xml" ContentType="application/vnd.ms-office.chartstyle+xml"/>
  <Override PartName="/ppt/charts/style916.xml" ContentType="application/vnd.ms-office.chartstyle+xml"/>
  <Override PartName="/ppt/charts/style917.xml" ContentType="application/vnd.ms-office.chartstyle+xml"/>
  <Override PartName="/ppt/charts/style918.xml" ContentType="application/vnd.ms-office.chartstyle+xml"/>
  <Override PartName="/ppt/charts/style919.xml" ContentType="application/vnd.ms-office.chartstyle+xml"/>
  <Override PartName="/ppt/charts/style92.xml" ContentType="application/vnd.ms-office.chartstyle+xml"/>
  <Override PartName="/ppt/charts/style920.xml" ContentType="application/vnd.ms-office.chartstyle+xml"/>
  <Override PartName="/ppt/charts/style921.xml" ContentType="application/vnd.ms-office.chartstyle+xml"/>
  <Override PartName="/ppt/charts/style922.xml" ContentType="application/vnd.ms-office.chartstyle+xml"/>
  <Override PartName="/ppt/charts/style923.xml" ContentType="application/vnd.ms-office.chartstyle+xml"/>
  <Override PartName="/ppt/charts/style924.xml" ContentType="application/vnd.ms-office.chartstyle+xml"/>
  <Override PartName="/ppt/charts/style925.xml" ContentType="application/vnd.ms-office.chartstyle+xml"/>
  <Override PartName="/ppt/charts/style926.xml" ContentType="application/vnd.ms-office.chartstyle+xml"/>
  <Override PartName="/ppt/charts/style927.xml" ContentType="application/vnd.ms-office.chartstyle+xml"/>
  <Override PartName="/ppt/charts/style928.xml" ContentType="application/vnd.ms-office.chartstyle+xml"/>
  <Override PartName="/ppt/charts/style929.xml" ContentType="application/vnd.ms-office.chartstyle+xml"/>
  <Override PartName="/ppt/charts/style93.xml" ContentType="application/vnd.ms-office.chartstyle+xml"/>
  <Override PartName="/ppt/charts/style930.xml" ContentType="application/vnd.ms-office.chartstyle+xml"/>
  <Override PartName="/ppt/charts/style931.xml" ContentType="application/vnd.ms-office.chartstyle+xml"/>
  <Override PartName="/ppt/charts/style932.xml" ContentType="application/vnd.ms-office.chartstyle+xml"/>
  <Override PartName="/ppt/charts/style933.xml" ContentType="application/vnd.ms-office.chartstyle+xml"/>
  <Override PartName="/ppt/charts/style934.xml" ContentType="application/vnd.ms-office.chartstyle+xml"/>
  <Override PartName="/ppt/charts/style935.xml" ContentType="application/vnd.ms-office.chartstyle+xml"/>
  <Override PartName="/ppt/charts/style936.xml" ContentType="application/vnd.ms-office.chartstyle+xml"/>
  <Override PartName="/ppt/charts/style937.xml" ContentType="application/vnd.ms-office.chartstyle+xml"/>
  <Override PartName="/ppt/charts/style938.xml" ContentType="application/vnd.ms-office.chartstyle+xml"/>
  <Override PartName="/ppt/charts/style939.xml" ContentType="application/vnd.ms-office.chartstyle+xml"/>
  <Override PartName="/ppt/charts/style94.xml" ContentType="application/vnd.ms-office.chartstyle+xml"/>
  <Override PartName="/ppt/charts/style940.xml" ContentType="application/vnd.ms-office.chartstyle+xml"/>
  <Override PartName="/ppt/charts/style941.xml" ContentType="application/vnd.ms-office.chartstyle+xml"/>
  <Override PartName="/ppt/charts/style942.xml" ContentType="application/vnd.ms-office.chartstyle+xml"/>
  <Override PartName="/ppt/charts/style943.xml" ContentType="application/vnd.ms-office.chartstyle+xml"/>
  <Override PartName="/ppt/charts/style944.xml" ContentType="application/vnd.ms-office.chartstyle+xml"/>
  <Override PartName="/ppt/charts/style945.xml" ContentType="application/vnd.ms-office.chartstyle+xml"/>
  <Override PartName="/ppt/charts/style946.xml" ContentType="application/vnd.ms-office.chartstyle+xml"/>
  <Override PartName="/ppt/charts/style947.xml" ContentType="application/vnd.ms-office.chartstyle+xml"/>
  <Override PartName="/ppt/charts/style948.xml" ContentType="application/vnd.ms-office.chartstyle+xml"/>
  <Override PartName="/ppt/charts/style949.xml" ContentType="application/vnd.ms-office.chartstyle+xml"/>
  <Override PartName="/ppt/charts/style95.xml" ContentType="application/vnd.ms-office.chartstyle+xml"/>
  <Override PartName="/ppt/charts/style950.xml" ContentType="application/vnd.ms-office.chartstyle+xml"/>
  <Override PartName="/ppt/charts/style951.xml" ContentType="application/vnd.ms-office.chartstyle+xml"/>
  <Override PartName="/ppt/charts/style952.xml" ContentType="application/vnd.ms-office.chartstyle+xml"/>
  <Override PartName="/ppt/charts/style953.xml" ContentType="application/vnd.ms-office.chartstyle+xml"/>
  <Override PartName="/ppt/charts/style954.xml" ContentType="application/vnd.ms-office.chartstyle+xml"/>
  <Override PartName="/ppt/charts/style955.xml" ContentType="application/vnd.ms-office.chartstyle+xml"/>
  <Override PartName="/ppt/charts/style956.xml" ContentType="application/vnd.ms-office.chartstyle+xml"/>
  <Override PartName="/ppt/charts/style957.xml" ContentType="application/vnd.ms-office.chartstyle+xml"/>
  <Override PartName="/ppt/charts/style958.xml" ContentType="application/vnd.ms-office.chartstyle+xml"/>
  <Override PartName="/ppt/charts/style959.xml" ContentType="application/vnd.ms-office.chartstyle+xml"/>
  <Override PartName="/ppt/charts/style96.xml" ContentType="application/vnd.ms-office.chartstyle+xml"/>
  <Override PartName="/ppt/charts/style960.xml" ContentType="application/vnd.ms-office.chartstyle+xml"/>
  <Override PartName="/ppt/charts/style961.xml" ContentType="application/vnd.ms-office.chartstyle+xml"/>
  <Override PartName="/ppt/charts/style962.xml" ContentType="application/vnd.ms-office.chartstyle+xml"/>
  <Override PartName="/ppt/charts/style963.xml" ContentType="application/vnd.ms-office.chartstyle+xml"/>
  <Override PartName="/ppt/charts/style964.xml" ContentType="application/vnd.ms-office.chartstyle+xml"/>
  <Override PartName="/ppt/charts/style965.xml" ContentType="application/vnd.ms-office.chartstyle+xml"/>
  <Override PartName="/ppt/charts/style966.xml" ContentType="application/vnd.ms-office.chartstyle+xml"/>
  <Override PartName="/ppt/charts/style967.xml" ContentType="application/vnd.ms-office.chartstyle+xml"/>
  <Override PartName="/ppt/charts/style968.xml" ContentType="application/vnd.ms-office.chartstyle+xml"/>
  <Override PartName="/ppt/charts/style969.xml" ContentType="application/vnd.ms-office.chartstyle+xml"/>
  <Override PartName="/ppt/charts/style97.xml" ContentType="application/vnd.ms-office.chartstyle+xml"/>
  <Override PartName="/ppt/charts/style970.xml" ContentType="application/vnd.ms-office.chartstyle+xml"/>
  <Override PartName="/ppt/charts/style971.xml" ContentType="application/vnd.ms-office.chartstyle+xml"/>
  <Override PartName="/ppt/charts/style972.xml" ContentType="application/vnd.ms-office.chartstyle+xml"/>
  <Override PartName="/ppt/charts/style973.xml" ContentType="application/vnd.ms-office.chartstyle+xml"/>
  <Override PartName="/ppt/charts/style974.xml" ContentType="application/vnd.ms-office.chartstyle+xml"/>
  <Override PartName="/ppt/charts/style975.xml" ContentType="application/vnd.ms-office.chartstyle+xml"/>
  <Override PartName="/ppt/charts/style976.xml" ContentType="application/vnd.ms-office.chartstyle+xml"/>
  <Override PartName="/ppt/charts/style977.xml" ContentType="application/vnd.ms-office.chartstyle+xml"/>
  <Override PartName="/ppt/charts/style978.xml" ContentType="application/vnd.ms-office.chartstyle+xml"/>
  <Override PartName="/ppt/charts/style979.xml" ContentType="application/vnd.ms-office.chartstyle+xml"/>
  <Override PartName="/ppt/charts/style98.xml" ContentType="application/vnd.ms-office.chartstyle+xml"/>
  <Override PartName="/ppt/charts/style980.xml" ContentType="application/vnd.ms-office.chartstyle+xml"/>
  <Override PartName="/ppt/charts/style981.xml" ContentType="application/vnd.ms-office.chartstyle+xml"/>
  <Override PartName="/ppt/charts/style982.xml" ContentType="application/vnd.ms-office.chartstyle+xml"/>
  <Override PartName="/ppt/charts/style983.xml" ContentType="application/vnd.ms-office.chartstyle+xml"/>
  <Override PartName="/ppt/charts/style984.xml" ContentType="application/vnd.ms-office.chartstyle+xml"/>
  <Override PartName="/ppt/charts/style985.xml" ContentType="application/vnd.ms-office.chartstyle+xml"/>
  <Override PartName="/ppt/charts/style986.xml" ContentType="application/vnd.ms-office.chartstyle+xml"/>
  <Override PartName="/ppt/charts/style987.xml" ContentType="application/vnd.ms-office.chartstyle+xml"/>
  <Override PartName="/ppt/charts/style988.xml" ContentType="application/vnd.ms-office.chartstyle+xml"/>
  <Override PartName="/ppt/charts/style989.xml" ContentType="application/vnd.ms-office.chartstyle+xml"/>
  <Override PartName="/ppt/charts/style99.xml" ContentType="application/vnd.ms-office.chartstyle+xml"/>
  <Override PartName="/ppt/charts/style990.xml" ContentType="application/vnd.ms-office.chartstyle+xml"/>
  <Override PartName="/ppt/charts/style991.xml" ContentType="application/vnd.ms-office.chartstyle+xml"/>
  <Override PartName="/ppt/charts/style992.xml" ContentType="application/vnd.ms-office.chartstyle+xml"/>
  <Override PartName="/ppt/charts/style993.xml" ContentType="application/vnd.ms-office.chartstyle+xml"/>
  <Override PartName="/ppt/charts/style994.xml" ContentType="application/vnd.ms-office.chartstyle+xml"/>
  <Override PartName="/ppt/charts/style995.xml" ContentType="application/vnd.ms-office.chartstyle+xml"/>
  <Override PartName="/ppt/charts/style996.xml" ContentType="application/vnd.ms-office.chartstyle+xml"/>
  <Override PartName="/ppt/charts/style997.xml" ContentType="application/vnd.ms-office.chartstyle+xml"/>
  <Override PartName="/ppt/charts/style998.xml" ContentType="application/vnd.ms-office.chartstyle+xml"/>
  <Override PartName="/ppt/charts/style9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36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F8BA1B82-1AA7-4973-8D97-6CCA3AEEB057}">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Lst>
        </p14:section>
        <p14:section name="Share Evolution By Manuf" id="{70929EEC-4068-4967-95D5-1CA6481AD9C4}">
          <p14:sldIdLst>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Lst>
        </p14:section>
        <p14:section name="Share Evolution By Brand" id="{4E3E7E54-E311-4095-A432-0223B544FA1E}">
          <p14:sldIdLst>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Lst>
        </p14:section>
        <p14:section name="Category Overview" id="{2AD7807F-BB37-4806-8420-191DB1A086AA}">
          <p14:sldIdLst>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notesMaster" Target="notesMasters/notesMaster1.xml"/><Relationship Id="rId1364" Type="http://schemas.openxmlformats.org/officeDocument/2006/relationships/presProps" Target="presProps.xml"/><Relationship Id="rId1365" Type="http://schemas.openxmlformats.org/officeDocument/2006/relationships/viewProps" Target="viewProps.xml"/><Relationship Id="rId1366" Type="http://schemas.openxmlformats.org/officeDocument/2006/relationships/theme" Target="theme/theme1.xml"/><Relationship Id="rId1367" Type="http://schemas.openxmlformats.org/officeDocument/2006/relationships/tableStyles" Target="tableStyles.xml"/><Relationship Id="rId1368" Type="http://schemas.microsoft.com/office/2018/10/relationships/authors" Target="authors.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microsoft.com/office/2011/relationships/chartStyle" Target="style538.xml"/><Relationship Id="rId2" Type="http://schemas.microsoft.com/office/2011/relationships/chartColorStyle" Target="colors538.xml"/><Relationship Id="rId3" Type="http://schemas.openxmlformats.org/officeDocument/2006/relationships/package" Target="../embeddings/Microsoft_Excel_Worksheet9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1.xml.rels><?xml version='1.0' encoding='UTF-8' standalone='yes'?>
<Relationships xmlns="http://schemas.openxmlformats.org/package/2006/relationships"><Relationship Id="rId1" Type="http://schemas.microsoft.com/office/2011/relationships/chartStyle" Target="style549.xml"/><Relationship Id="rId2" Type="http://schemas.microsoft.com/office/2011/relationships/chartColorStyle" Target="colors549.xml"/><Relationship Id="rId3"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microsoft.com/office/2011/relationships/chartStyle" Target="style550.xml"/><Relationship Id="rId2" Type="http://schemas.microsoft.com/office/2011/relationships/chartColorStyle" Target="colors550.xml"/><Relationship Id="rId3"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microsoft.com/office/2011/relationships/chartStyle" Target="style551.xml"/><Relationship Id="rId2" Type="http://schemas.microsoft.com/office/2011/relationships/chartColorStyle" Target="colors551.xml"/><Relationship Id="rId3"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1013.xlsx"/></Relationships>
</file>

<file path=ppt/charts/_rels/chart1019.xml.rels><?xml version='1.0' encoding='UTF-8' standalone='yes'?>
<Relationships xmlns="http://schemas.openxmlformats.org/package/2006/relationships"><Relationship Id="rId1" Type="http://schemas.microsoft.com/office/2011/relationships/chartStyle" Target="style557.xml"/><Relationship Id="rId2" Type="http://schemas.microsoft.com/office/2011/relationships/chartColorStyle" Target="colors557.xml"/><Relationship Id="rId3" Type="http://schemas.openxmlformats.org/officeDocument/2006/relationships/package" Target="../embeddings/Microsoft_Excel_Worksheet1018.xlsx"/></Relationships>
</file>

<file path=ppt/charts/_rels/chart1020.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1019.xlsx"/></Relationships>
</file>

<file path=ppt/charts/_rels/chart1033.xml.rels><?xml version='1.0' encoding='UTF-8' standalone='yes'?>
<Relationships xmlns="http://schemas.openxmlformats.org/package/2006/relationships"><Relationship Id="rId1" Type="http://schemas.microsoft.com/office/2011/relationships/chartStyle" Target="style571.xml"/><Relationship Id="rId2" Type="http://schemas.microsoft.com/office/2011/relationships/chartColorStyle" Target="colors571.xml"/><Relationship Id="rId3"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microsoft.com/office/2011/relationships/chartStyle" Target="style572.xml"/><Relationship Id="rId2" Type="http://schemas.microsoft.com/office/2011/relationships/chartColorStyle" Target="colors572.xml"/><Relationship Id="rId3" Type="http://schemas.openxmlformats.org/officeDocument/2006/relationships/package" Target="../embeddings/Microsoft_Excel_Worksheet1033.xlsx"/></Relationships>
</file>

<file path=ppt/charts/_rels/chart1041.xml.rels><?xml version='1.0' encoding='UTF-8' standalone='yes'?>
<Relationships xmlns="http://schemas.openxmlformats.org/package/2006/relationships"><Relationship Id="rId1" Type="http://schemas.microsoft.com/office/2011/relationships/chartStyle" Target="style579.xml"/><Relationship Id="rId2" Type="http://schemas.microsoft.com/office/2011/relationships/chartColorStyle" Target="colors579.xml"/><Relationship Id="rId3"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microsoft.com/office/2011/relationships/chartStyle" Target="style580.xml"/><Relationship Id="rId2" Type="http://schemas.microsoft.com/office/2011/relationships/chartColorStyle" Target="colors580.xml"/><Relationship Id="rId3"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1043.xlsx"/></Relationships>
</file>

<file path=ppt/charts/_rels/chart1055.xml.rels><?xml version='1.0' encoding='UTF-8' standalone='yes'?>
<Relationships xmlns="http://schemas.openxmlformats.org/package/2006/relationships"><Relationship Id="rId1" Type="http://schemas.microsoft.com/office/2011/relationships/chartStyle" Target="style593.xml"/><Relationship Id="rId2" Type="http://schemas.microsoft.com/office/2011/relationships/chartColorStyle" Target="colors593.xml"/><Relationship Id="rId3"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microsoft.com/office/2011/relationships/chartStyle" Target="style594.xml"/><Relationship Id="rId2" Type="http://schemas.microsoft.com/office/2011/relationships/chartColorStyle" Target="colors594.xml"/><Relationship Id="rId3"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microsoft.com/office/2011/relationships/chartStyle" Target="style595.xml"/><Relationship Id="rId2" Type="http://schemas.microsoft.com/office/2011/relationships/chartColorStyle" Target="colors595.xml"/><Relationship Id="rId3"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microsoft.com/office/2011/relationships/chartStyle" Target="style596.xml"/><Relationship Id="rId2" Type="http://schemas.microsoft.com/office/2011/relationships/chartColorStyle" Target="colors596.xml"/><Relationship Id="rId3" Type="http://schemas.openxmlformats.org/officeDocument/2006/relationships/package" Target="../embeddings/Microsoft_Excel_Worksheet1057.xlsx"/></Relationships>
</file>

<file path=ppt/charts/_rels/chart1063.xml.rels><?xml version='1.0' encoding='UTF-8' standalone='yes'?>
<Relationships xmlns="http://schemas.openxmlformats.org/package/2006/relationships"><Relationship Id="rId1" Type="http://schemas.microsoft.com/office/2011/relationships/chartStyle" Target="style601.xml"/><Relationship Id="rId2" Type="http://schemas.microsoft.com/office/2011/relationships/chartColorStyle" Target="colors601.xml"/><Relationship Id="rId3"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microsoft.com/office/2011/relationships/chartStyle" Target="style602.xml"/><Relationship Id="rId2" Type="http://schemas.microsoft.com/office/2011/relationships/chartColorStyle" Target="colors602.xml"/><Relationship Id="rId3" Type="http://schemas.openxmlformats.org/officeDocument/2006/relationships/package" Target="../embeddings/Microsoft_Excel_Worksheet1063.xlsx"/></Relationships>
</file>

<file path=ppt/charts/_rels/chart1069.xml.rels><?xml version='1.0' encoding='UTF-8' standalone='yes'?>
<Relationships xmlns="http://schemas.openxmlformats.org/package/2006/relationships"><Relationship Id="rId1" Type="http://schemas.microsoft.com/office/2011/relationships/chartStyle" Target="style607.xml"/><Relationship Id="rId2" Type="http://schemas.microsoft.com/office/2011/relationships/chartColorStyle" Target="colors607.xml"/><Relationship Id="rId3"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microsoft.com/office/2011/relationships/chartStyle" Target="style608.xml"/><Relationship Id="rId2" Type="http://schemas.microsoft.com/office/2011/relationships/chartColorStyle" Target="colors608.xml"/><Relationship Id="rId3"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microsoft.com/office/2011/relationships/chartStyle" Target="style609.xml"/><Relationship Id="rId2" Type="http://schemas.microsoft.com/office/2011/relationships/chartColorStyle" Target="colors609.xml"/><Relationship Id="rId3"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microsoft.com/office/2011/relationships/chartStyle" Target="style610.xml"/><Relationship Id="rId2" Type="http://schemas.microsoft.com/office/2011/relationships/chartColorStyle" Target="colors610.xml"/><Relationship Id="rId3" Type="http://schemas.openxmlformats.org/officeDocument/2006/relationships/package" Target="../embeddings/Microsoft_Excel_Worksheet1071.xlsx"/></Relationships>
</file>

<file path=ppt/charts/_rels/chart1077.xml.rels><?xml version='1.0' encoding='UTF-8' standalone='yes'?>
<Relationships xmlns="http://schemas.openxmlformats.org/package/2006/relationships"><Relationship Id="rId1" Type="http://schemas.microsoft.com/office/2011/relationships/chartStyle" Target="style615.xml"/><Relationship Id="rId2" Type="http://schemas.microsoft.com/office/2011/relationships/chartColorStyle" Target="colors615.xml"/><Relationship Id="rId3"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1077.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5.xml.rels><?xml version='1.0' encoding='UTF-8' standalone='yes'?>
<Relationships xmlns="http://schemas.openxmlformats.org/package/2006/relationships"><Relationship Id="rId1" Type="http://schemas.microsoft.com/office/2011/relationships/chartStyle" Target="style623.xml"/><Relationship Id="rId2" Type="http://schemas.microsoft.com/office/2011/relationships/chartColorStyle" Target="colors623.xml"/><Relationship Id="rId3"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microsoft.com/office/2011/relationships/chartStyle" Target="style624.xml"/><Relationship Id="rId2" Type="http://schemas.microsoft.com/office/2011/relationships/chartColorStyle" Target="colors624.xml"/><Relationship Id="rId3"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1087.xlsx"/></Relationships>
</file>

<file path=ppt/charts/_rels/chart1099.xml.rels><?xml version='1.0' encoding='UTF-8' standalone='yes'?>
<Relationships xmlns="http://schemas.openxmlformats.org/package/2006/relationships"><Relationship Id="rId1" Type="http://schemas.microsoft.com/office/2011/relationships/chartStyle" Target="style637.xml"/><Relationship Id="rId2" Type="http://schemas.microsoft.com/office/2011/relationships/chartColorStyle" Target="colors637.xml"/><Relationship Id="rId3" Type="http://schemas.openxmlformats.org/officeDocument/2006/relationships/package" Target="../embeddings/Microsoft_Excel_Worksheet1098.xlsx"/></Relationships>
</file>

<file path=ppt/charts/_rels/chart1100.xml.rels><?xml version='1.0' encoding='UTF-8' standalone='yes'?>
<Relationships xmlns="http://schemas.openxmlformats.org/package/2006/relationships"><Relationship Id="rId1" Type="http://schemas.microsoft.com/office/2011/relationships/chartStyle" Target="style638.xml"/><Relationship Id="rId2" Type="http://schemas.microsoft.com/office/2011/relationships/chartColorStyle" Target="colors638.xml"/><Relationship Id="rId3"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microsoft.com/office/2011/relationships/chartStyle" Target="style639.xml"/><Relationship Id="rId2" Type="http://schemas.microsoft.com/office/2011/relationships/chartColorStyle" Target="colors639.xml"/><Relationship Id="rId3"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microsoft.com/office/2011/relationships/chartStyle" Target="style640.xml"/><Relationship Id="rId2" Type="http://schemas.microsoft.com/office/2011/relationships/chartColorStyle" Target="colors640.xml"/><Relationship Id="rId3" Type="http://schemas.openxmlformats.org/officeDocument/2006/relationships/package" Target="../embeddings/Microsoft_Excel_Worksheet1101.xlsx"/></Relationships>
</file>

<file path=ppt/charts/_rels/chart1107.xml.rels><?xml version='1.0' encoding='UTF-8' standalone='yes'?>
<Relationships xmlns="http://schemas.openxmlformats.org/package/2006/relationships"><Relationship Id="rId1" Type="http://schemas.microsoft.com/office/2011/relationships/chartStyle" Target="style645.xml"/><Relationship Id="rId2" Type="http://schemas.microsoft.com/office/2011/relationships/chartColorStyle" Target="colors645.xml"/><Relationship Id="rId3"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1107.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3.xml.rels><?xml version='1.0' encoding='UTF-8' standalone='yes'?>
<Relationships xmlns="http://schemas.openxmlformats.org/package/2006/relationships"><Relationship Id="rId1" Type="http://schemas.microsoft.com/office/2011/relationships/chartStyle" Target="style651.xml"/><Relationship Id="rId2" Type="http://schemas.microsoft.com/office/2011/relationships/chartColorStyle" Target="colors651.xml"/><Relationship Id="rId3"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microsoft.com/office/2011/relationships/chartStyle" Target="style652.xml"/><Relationship Id="rId2" Type="http://schemas.microsoft.com/office/2011/relationships/chartColorStyle" Target="colors652.xml"/><Relationship Id="rId3"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microsoft.com/office/2011/relationships/chartStyle" Target="style653.xml"/><Relationship Id="rId2" Type="http://schemas.microsoft.com/office/2011/relationships/chartColorStyle" Target="colors653.xml"/><Relationship Id="rId3"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microsoft.com/office/2011/relationships/chartStyle" Target="style654.xml"/><Relationship Id="rId2" Type="http://schemas.microsoft.com/office/2011/relationships/chartColorStyle" Target="colors654.xml"/><Relationship Id="rId3" Type="http://schemas.openxmlformats.org/officeDocument/2006/relationships/package" Target="../embeddings/Microsoft_Excel_Worksheet1115.xlsx"/></Relationships>
</file>

<file path=ppt/charts/_rels/chart1121.xml.rels><?xml version='1.0' encoding='UTF-8' standalone='yes'?>
<Relationships xmlns="http://schemas.openxmlformats.org/package/2006/relationships"><Relationship Id="rId1" Type="http://schemas.microsoft.com/office/2011/relationships/chartStyle" Target="style659.xml"/><Relationship Id="rId2" Type="http://schemas.microsoft.com/office/2011/relationships/chartColorStyle" Target="colors659.xml"/><Relationship Id="rId3"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microsoft.com/office/2011/relationships/chartStyle" Target="style660.xml"/><Relationship Id="rId2" Type="http://schemas.microsoft.com/office/2011/relationships/chartColorStyle" Target="colors660.xml"/><Relationship Id="rId3" Type="http://schemas.openxmlformats.org/officeDocument/2006/relationships/package" Target="../embeddings/Microsoft_Excel_Worksheet1121.xlsx"/></Relationships>
</file>

<file path=ppt/charts/_rels/chart1131.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microsoft.com/office/2011/relationships/chartStyle" Target="style672.xml"/><Relationship Id="rId2" Type="http://schemas.microsoft.com/office/2011/relationships/chartColorStyle" Target="colors672.xml"/><Relationship Id="rId3" Type="http://schemas.openxmlformats.org/officeDocument/2006/relationships/package" Target="../embeddings/Microsoft_Excel_Worksheet1133.xlsx"/></Relationships>
</file>

<file path=ppt/charts/_rels/chart1153.xml.rels><?xml version='1.0' encoding='UTF-8' standalone='yes'?>
<Relationships xmlns="http://schemas.openxmlformats.org/package/2006/relationships"><Relationship Id="rId1" Type="http://schemas.microsoft.com/office/2011/relationships/chartStyle" Target="style691.xml"/><Relationship Id="rId2" Type="http://schemas.microsoft.com/office/2011/relationships/chartColorStyle" Target="colors691.xml"/><Relationship Id="rId3"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1153.xlsx"/></Relationships>
</file>

<file path=ppt/charts/_rels/chart1163.xml.rels><?xml version='1.0' encoding='UTF-8' standalone='yes'?>
<Relationships xmlns="http://schemas.openxmlformats.org/package/2006/relationships"><Relationship Id="rId1" Type="http://schemas.microsoft.com/office/2011/relationships/chartStyle" Target="style701.xml"/><Relationship Id="rId2" Type="http://schemas.microsoft.com/office/2011/relationships/chartColorStyle" Target="colors701.xml"/><Relationship Id="rId3"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microsoft.com/office/2011/relationships/chartStyle" Target="style702.xml"/><Relationship Id="rId2" Type="http://schemas.microsoft.com/office/2011/relationships/chartColorStyle" Target="colors702.xml"/><Relationship Id="rId3"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microsoft.com/office/2011/relationships/chartStyle" Target="style704.xml"/><Relationship Id="rId2" Type="http://schemas.microsoft.com/office/2011/relationships/chartColorStyle" Target="colors704.xml"/><Relationship Id="rId3" Type="http://schemas.openxmlformats.org/officeDocument/2006/relationships/package" Target="../embeddings/Microsoft_Excel_Worksheet1165.xlsx"/></Relationships>
</file>

<file path=ppt/charts/_rels/chart1175.xml.rels><?xml version='1.0' encoding='UTF-8' standalone='yes'?>
<Relationships xmlns="http://schemas.openxmlformats.org/package/2006/relationships"><Relationship Id="rId1" Type="http://schemas.microsoft.com/office/2011/relationships/chartStyle" Target="style713.xml"/><Relationship Id="rId2" Type="http://schemas.microsoft.com/office/2011/relationships/chartColorStyle" Target="colors713.xml"/><Relationship Id="rId3"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microsoft.com/office/2011/relationships/chartStyle" Target="style714.xml"/><Relationship Id="rId2" Type="http://schemas.microsoft.com/office/2011/relationships/chartColorStyle" Target="colors714.xml"/><Relationship Id="rId3" Type="http://schemas.openxmlformats.org/officeDocument/2006/relationships/package" Target="../embeddings/Microsoft_Excel_Worksheet1175.xlsx"/></Relationships>
</file>

<file path=ppt/charts/_rels/chart1177.xml.rels><?xml version='1.0' encoding='UTF-8' standalone='yes'?>
<Relationships xmlns="http://schemas.openxmlformats.org/package/2006/relationships"><Relationship Id="rId1" Type="http://schemas.microsoft.com/office/2011/relationships/chartStyle" Target="style715.xml"/><Relationship Id="rId2" Type="http://schemas.microsoft.com/office/2011/relationships/chartColorStyle" Target="colors715.xml"/><Relationship Id="rId3" Type="http://schemas.openxmlformats.org/officeDocument/2006/relationships/package" Target="../embeddings/Microsoft_Excel_Worksheet1176.xlsx"/></Relationships>
</file>

<file path=ppt/charts/_rels/chart1178.xml.rels><?xml version='1.0' encoding='UTF-8' standalone='yes'?>
<Relationships xmlns="http://schemas.openxmlformats.org/package/2006/relationships"><Relationship Id="rId1" Type="http://schemas.microsoft.com/office/2011/relationships/chartStyle" Target="style716.xml"/><Relationship Id="rId2" Type="http://schemas.microsoft.com/office/2011/relationships/chartColorStyle" Target="colors716.xml"/><Relationship Id="rId3" Type="http://schemas.openxmlformats.org/officeDocument/2006/relationships/package" Target="../embeddings/Microsoft_Excel_Worksheet1177.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89.xml.rels><?xml version='1.0' encoding='UTF-8' standalone='yes'?>
<Relationships xmlns="http://schemas.openxmlformats.org/package/2006/relationships"><Relationship Id="rId1" Type="http://schemas.microsoft.com/office/2011/relationships/chartStyle" Target="style727.xml"/><Relationship Id="rId2" Type="http://schemas.microsoft.com/office/2011/relationships/chartColorStyle" Target="colors727.xml"/><Relationship Id="rId3" Type="http://schemas.openxmlformats.org/officeDocument/2006/relationships/package" Target="../embeddings/Microsoft_Excel_Worksheet1188.xlsx"/></Relationships>
</file>

<file path=ppt/charts/_rels/chart1190.xml.rels><?xml version='1.0' encoding='UTF-8' standalone='yes'?>
<Relationships xmlns="http://schemas.openxmlformats.org/package/2006/relationships"><Relationship Id="rId1" Type="http://schemas.microsoft.com/office/2011/relationships/chartStyle" Target="style728.xml"/><Relationship Id="rId2" Type="http://schemas.microsoft.com/office/2011/relationships/chartColorStyle" Target="colors728.xml"/><Relationship Id="rId3"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microsoft.com/office/2011/relationships/chartStyle" Target="style729.xml"/><Relationship Id="rId2" Type="http://schemas.microsoft.com/office/2011/relationships/chartColorStyle" Target="colors729.xml"/><Relationship Id="rId3" Type="http://schemas.openxmlformats.org/officeDocument/2006/relationships/package" Target="../embeddings/Microsoft_Excel_Worksheet1190.xlsx"/></Relationships>
</file>

<file path=ppt/charts/_rels/chart1192.xml.rels><?xml version='1.0' encoding='UTF-8' standalone='yes'?>
<Relationships xmlns="http://schemas.openxmlformats.org/package/2006/relationships"><Relationship Id="rId1" Type="http://schemas.microsoft.com/office/2011/relationships/chartStyle" Target="style730.xml"/><Relationship Id="rId2" Type="http://schemas.microsoft.com/office/2011/relationships/chartColorStyle" Target="colors730.xml"/><Relationship Id="rId3" Type="http://schemas.openxmlformats.org/officeDocument/2006/relationships/package" Target="../embeddings/Microsoft_Excel_Worksheet1191.xlsx"/></Relationships>
</file>

<file path=ppt/charts/_rels/chart1197.xml.rels><?xml version='1.0' encoding='UTF-8' standalone='yes'?>
<Relationships xmlns="http://schemas.openxmlformats.org/package/2006/relationships"><Relationship Id="rId1" Type="http://schemas.microsoft.com/office/2011/relationships/chartStyle" Target="style735.xml"/><Relationship Id="rId2" Type="http://schemas.microsoft.com/office/2011/relationships/chartColorStyle" Target="colors735.xml"/><Relationship Id="rId3"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microsoft.com/office/2011/relationships/chartStyle" Target="style736.xml"/><Relationship Id="rId2" Type="http://schemas.microsoft.com/office/2011/relationships/chartColorStyle" Target="colors736.xml"/><Relationship Id="rId3" Type="http://schemas.openxmlformats.org/officeDocument/2006/relationships/package" Target="../embeddings/Microsoft_Excel_Worksheet1197.xlsx"/></Relationships>
</file>

<file path=ppt/charts/_rels/chart1207.xml.rels><?xml version='1.0' encoding='UTF-8' standalone='yes'?>
<Relationships xmlns="http://schemas.openxmlformats.org/package/2006/relationships"><Relationship Id="rId1" Type="http://schemas.microsoft.com/office/2011/relationships/chartStyle" Target="style745.xml"/><Relationship Id="rId2" Type="http://schemas.microsoft.com/office/2011/relationships/chartColorStyle" Target="colors745.xml"/><Relationship Id="rId3" Type="http://schemas.openxmlformats.org/officeDocument/2006/relationships/package" Target="../embeddings/Microsoft_Excel_Worksheet1206.xlsx"/></Relationships>
</file>

<file path=ppt/charts/_rels/chart1208.xml.rels><?xml version='1.0' encoding='UTF-8' standalone='yes'?>
<Relationships xmlns="http://schemas.openxmlformats.org/package/2006/relationships"><Relationship Id="rId1" Type="http://schemas.microsoft.com/office/2011/relationships/chartStyle" Target="style746.xml"/><Relationship Id="rId2" Type="http://schemas.microsoft.com/office/2011/relationships/chartColorStyle" Target="colors746.xml"/><Relationship Id="rId3" Type="http://schemas.openxmlformats.org/officeDocument/2006/relationships/package" Target="../embeddings/Microsoft_Excel_Worksheet1207.xlsx"/></Relationships>
</file>

<file path=ppt/charts/_rels/chart1211.xml.rels><?xml version='1.0' encoding='UTF-8' standalone='yes'?>
<Relationships xmlns="http://schemas.openxmlformats.org/package/2006/relationships"><Relationship Id="rId1" Type="http://schemas.microsoft.com/office/2011/relationships/chartStyle" Target="style749.xml"/><Relationship Id="rId2" Type="http://schemas.microsoft.com/office/2011/relationships/chartColorStyle" Target="colors749.xml"/><Relationship Id="rId3" Type="http://schemas.openxmlformats.org/officeDocument/2006/relationships/package" Target="../embeddings/Microsoft_Excel_Worksheet1210.xlsx"/></Relationships>
</file>

<file path=ppt/charts/_rels/chart1212.xml.rels><?xml version='1.0' encoding='UTF-8' standalone='yes'?>
<Relationships xmlns="http://schemas.openxmlformats.org/package/2006/relationships"><Relationship Id="rId1" Type="http://schemas.microsoft.com/office/2011/relationships/chartStyle" Target="style750.xml"/><Relationship Id="rId2" Type="http://schemas.microsoft.com/office/2011/relationships/chartColorStyle" Target="colors750.xml"/><Relationship Id="rId3" Type="http://schemas.openxmlformats.org/officeDocument/2006/relationships/package" Target="../embeddings/Microsoft_Excel_Worksheet1211.xlsx"/></Relationships>
</file>

<file path=ppt/charts/_rels/chart1219.xml.rels><?xml version='1.0' encoding='UTF-8' standalone='yes'?>
<Relationships xmlns="http://schemas.openxmlformats.org/package/2006/relationships"><Relationship Id="rId1" Type="http://schemas.microsoft.com/office/2011/relationships/chartStyle" Target="style757.xml"/><Relationship Id="rId2" Type="http://schemas.microsoft.com/office/2011/relationships/chartColorStyle" Target="colors757.xml"/><Relationship Id="rId3" Type="http://schemas.openxmlformats.org/officeDocument/2006/relationships/package" Target="../embeddings/Microsoft_Excel_Worksheet1218.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0.xml.rels><?xml version='1.0' encoding='UTF-8' standalone='yes'?>
<Relationships xmlns="http://schemas.openxmlformats.org/package/2006/relationships"><Relationship Id="rId1" Type="http://schemas.microsoft.com/office/2011/relationships/chartStyle" Target="style758.xml"/><Relationship Id="rId2" Type="http://schemas.microsoft.com/office/2011/relationships/chartColorStyle" Target="colors758.xml"/><Relationship Id="rId3" Type="http://schemas.openxmlformats.org/officeDocument/2006/relationships/package" Target="../embeddings/Microsoft_Excel_Worksheet1219.xlsx"/></Relationships>
</file>

<file path=ppt/charts/_rels/chart1221.xml.rels><?xml version='1.0' encoding='UTF-8' standalone='yes'?>
<Relationships xmlns="http://schemas.openxmlformats.org/package/2006/relationships"><Relationship Id="rId1" Type="http://schemas.microsoft.com/office/2011/relationships/chartStyle" Target="style759.xml"/><Relationship Id="rId2" Type="http://schemas.microsoft.com/office/2011/relationships/chartColorStyle" Target="colors759.xml"/><Relationship Id="rId3" Type="http://schemas.openxmlformats.org/officeDocument/2006/relationships/package" Target="../embeddings/Microsoft_Excel_Worksheet1220.xlsx"/></Relationships>
</file>

<file path=ppt/charts/_rels/chart1222.xml.rels><?xml version='1.0' encoding='UTF-8' standalone='yes'?>
<Relationships xmlns="http://schemas.openxmlformats.org/package/2006/relationships"><Relationship Id="rId1" Type="http://schemas.microsoft.com/office/2011/relationships/chartStyle" Target="style760.xml"/><Relationship Id="rId2" Type="http://schemas.microsoft.com/office/2011/relationships/chartColorStyle" Target="colors760.xml"/><Relationship Id="rId3"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microsoft.com/office/2011/relationships/chartStyle" Target="style761.xml"/><Relationship Id="rId2" Type="http://schemas.microsoft.com/office/2011/relationships/chartColorStyle" Target="colors761.xml"/><Relationship Id="rId3"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microsoft.com/office/2011/relationships/chartStyle" Target="style762.xml"/><Relationship Id="rId2" Type="http://schemas.microsoft.com/office/2011/relationships/chartColorStyle" Target="colors762.xml"/><Relationship Id="rId3" Type="http://schemas.openxmlformats.org/officeDocument/2006/relationships/package" Target="../embeddings/Microsoft_Excel_Worksheet1223.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33.xml.rels><?xml version='1.0' encoding='UTF-8' standalone='yes'?>
<Relationships xmlns="http://schemas.openxmlformats.org/package/2006/relationships"><Relationship Id="rId1" Type="http://schemas.microsoft.com/office/2011/relationships/chartStyle" Target="style771.xml"/><Relationship Id="rId2" Type="http://schemas.microsoft.com/office/2011/relationships/chartColorStyle" Target="colors771.xml"/><Relationship Id="rId3"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microsoft.com/office/2011/relationships/chartStyle" Target="style772.xml"/><Relationship Id="rId2" Type="http://schemas.microsoft.com/office/2011/relationships/chartColorStyle" Target="colors772.xml"/><Relationship Id="rId3"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microsoft.com/office/2011/relationships/chartStyle" Target="style773.xml"/><Relationship Id="rId2" Type="http://schemas.microsoft.com/office/2011/relationships/chartColorStyle" Target="colors773.xml"/><Relationship Id="rId3"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microsoft.com/office/2011/relationships/chartStyle" Target="style774.xml"/><Relationship Id="rId2" Type="http://schemas.microsoft.com/office/2011/relationships/chartColorStyle" Target="colors774.xml"/><Relationship Id="rId3" Type="http://schemas.openxmlformats.org/officeDocument/2006/relationships/package" Target="../embeddings/Microsoft_Excel_Worksheet1235.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41.xml.rels><?xml version='1.0' encoding='UTF-8' standalone='yes'?>
<Relationships xmlns="http://schemas.openxmlformats.org/package/2006/relationships"><Relationship Id="rId1" Type="http://schemas.microsoft.com/office/2011/relationships/chartStyle" Target="style779.xml"/><Relationship Id="rId2" Type="http://schemas.microsoft.com/office/2011/relationships/chartColorStyle" Target="colors779.xml"/><Relationship Id="rId3" Type="http://schemas.openxmlformats.org/officeDocument/2006/relationships/package" Target="../embeddings/Microsoft_Excel_Worksheet1240.xlsx"/></Relationships>
</file>

<file path=ppt/charts/_rels/chart1242.xml.rels><?xml version='1.0' encoding='UTF-8' standalone='yes'?>
<Relationships xmlns="http://schemas.openxmlformats.org/package/2006/relationships"><Relationship Id="rId1" Type="http://schemas.microsoft.com/office/2011/relationships/chartStyle" Target="style780.xml"/><Relationship Id="rId2" Type="http://schemas.microsoft.com/office/2011/relationships/chartColorStyle" Target="colors780.xml"/><Relationship Id="rId3" Type="http://schemas.openxmlformats.org/officeDocument/2006/relationships/package" Target="../embeddings/Microsoft_Excel_Worksheet1241.xlsx"/></Relationships>
</file>

<file path=ppt/charts/_rels/chart1249.xml.rels><?xml version='1.0' encoding='UTF-8' standalone='yes'?>
<Relationships xmlns="http://schemas.openxmlformats.org/package/2006/relationships"><Relationship Id="rId1" Type="http://schemas.microsoft.com/office/2011/relationships/chartStyle" Target="style787.xml"/><Relationship Id="rId2" Type="http://schemas.microsoft.com/office/2011/relationships/chartColorStyle" Target="colors787.xml"/><Relationship Id="rId3" Type="http://schemas.openxmlformats.org/officeDocument/2006/relationships/package" Target="../embeddings/Microsoft_Excel_Worksheet1248.xlsx"/></Relationships>
</file>

<file path=ppt/charts/_rels/chart1250.xml.rels><?xml version='1.0' encoding='UTF-8' standalone='yes'?>
<Relationships xmlns="http://schemas.openxmlformats.org/package/2006/relationships"><Relationship Id="rId1" Type="http://schemas.microsoft.com/office/2011/relationships/chartStyle" Target="style788.xml"/><Relationship Id="rId2" Type="http://schemas.microsoft.com/office/2011/relationships/chartColorStyle" Target="colors788.xml"/><Relationship Id="rId3" Type="http://schemas.openxmlformats.org/officeDocument/2006/relationships/package" Target="../embeddings/Microsoft_Excel_Worksheet1249.xlsx"/></Relationships>
</file>

<file path=ppt/charts/_rels/chart1255.xml.rels><?xml version='1.0' encoding='UTF-8' standalone='yes'?>
<Relationships xmlns="http://schemas.openxmlformats.org/package/2006/relationships"><Relationship Id="rId1" Type="http://schemas.microsoft.com/office/2011/relationships/chartStyle" Target="style793.xml"/><Relationship Id="rId2" Type="http://schemas.microsoft.com/office/2011/relationships/chartColorStyle" Target="colors793.xml"/><Relationship Id="rId3" Type="http://schemas.openxmlformats.org/officeDocument/2006/relationships/package" Target="../embeddings/Microsoft_Excel_Worksheet1254.xlsx"/></Relationships>
</file>

<file path=ppt/charts/_rels/chart1256.xml.rels><?xml version='1.0' encoding='UTF-8' standalone='yes'?>
<Relationships xmlns="http://schemas.openxmlformats.org/package/2006/relationships"><Relationship Id="rId1" Type="http://schemas.microsoft.com/office/2011/relationships/chartStyle" Target="style794.xml"/><Relationship Id="rId2" Type="http://schemas.microsoft.com/office/2011/relationships/chartColorStyle" Target="colors794.xml"/><Relationship Id="rId3" Type="http://schemas.openxmlformats.org/officeDocument/2006/relationships/package" Target="../embeddings/Microsoft_Excel_Worksheet1255.xlsx"/></Relationships>
</file>

<file path=ppt/charts/_rels/chart1265.xml.rels><?xml version='1.0' encoding='UTF-8' standalone='yes'?>
<Relationships xmlns="http://schemas.openxmlformats.org/package/2006/relationships"><Relationship Id="rId1" Type="http://schemas.microsoft.com/office/2011/relationships/chartStyle" Target="style803.xml"/><Relationship Id="rId2" Type="http://schemas.microsoft.com/office/2011/relationships/chartColorStyle" Target="colors803.xml"/><Relationship Id="rId3" Type="http://schemas.openxmlformats.org/officeDocument/2006/relationships/package" Target="../embeddings/Microsoft_Excel_Worksheet1264.xlsx"/></Relationships>
</file>

<file path=ppt/charts/_rels/chart1266.xml.rels><?xml version='1.0' encoding='UTF-8' standalone='yes'?>
<Relationships xmlns="http://schemas.openxmlformats.org/package/2006/relationships"><Relationship Id="rId1" Type="http://schemas.microsoft.com/office/2011/relationships/chartStyle" Target="style804.xml"/><Relationship Id="rId2" Type="http://schemas.microsoft.com/office/2011/relationships/chartColorStyle" Target="colors804.xml"/><Relationship Id="rId3" Type="http://schemas.openxmlformats.org/officeDocument/2006/relationships/package" Target="../embeddings/Microsoft_Excel_Worksheet1265.xlsx"/></Relationships>
</file>

<file path=ppt/charts/_rels/chart1267.xml.rels><?xml version='1.0' encoding='UTF-8' standalone='yes'?>
<Relationships xmlns="http://schemas.openxmlformats.org/package/2006/relationships"><Relationship Id="rId1" Type="http://schemas.microsoft.com/office/2011/relationships/chartStyle" Target="style805.xml"/><Relationship Id="rId2" Type="http://schemas.microsoft.com/office/2011/relationships/chartColorStyle" Target="colors805.xml"/><Relationship Id="rId3"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microsoft.com/office/2011/relationships/chartStyle" Target="style806.xml"/><Relationship Id="rId2" Type="http://schemas.microsoft.com/office/2011/relationships/chartColorStyle" Target="colors806.xml"/><Relationship Id="rId3" Type="http://schemas.openxmlformats.org/officeDocument/2006/relationships/package" Target="../embeddings/Microsoft_Excel_Worksheet1267.xlsx"/></Relationships>
</file>

<file path=ppt/charts/_rels/chart1277.xml.rels><?xml version='1.0' encoding='UTF-8' standalone='yes'?>
<Relationships xmlns="http://schemas.openxmlformats.org/package/2006/relationships"><Relationship Id="rId1" Type="http://schemas.microsoft.com/office/2011/relationships/chartStyle" Target="style815.xml"/><Relationship Id="rId2" Type="http://schemas.microsoft.com/office/2011/relationships/chartColorStyle" Target="colors815.xml"/><Relationship Id="rId3"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microsoft.com/office/2011/relationships/chartStyle" Target="style816.xml"/><Relationship Id="rId2" Type="http://schemas.microsoft.com/office/2011/relationships/chartColorStyle" Target="colors816.xml"/><Relationship Id="rId3"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microsoft.com/office/2011/relationships/chartStyle" Target="style817.xml"/><Relationship Id="rId2" Type="http://schemas.microsoft.com/office/2011/relationships/chartColorStyle" Target="colors817.xml"/><Relationship Id="rId3" Type="http://schemas.openxmlformats.org/officeDocument/2006/relationships/package" Target="../embeddings/Microsoft_Excel_Worksheet1278.xlsx"/></Relationships>
</file>

<file path=ppt/charts/_rels/chart1280.xml.rels><?xml version='1.0' encoding='UTF-8' standalone='yes'?>
<Relationships xmlns="http://schemas.openxmlformats.org/package/2006/relationships"><Relationship Id="rId1" Type="http://schemas.microsoft.com/office/2011/relationships/chartStyle" Target="style818.xml"/><Relationship Id="rId2" Type="http://schemas.microsoft.com/office/2011/relationships/chartColorStyle" Target="colors818.xml"/><Relationship Id="rId3" Type="http://schemas.openxmlformats.org/officeDocument/2006/relationships/package" Target="../embeddings/Microsoft_Excel_Worksheet1279.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291.xml.rels><?xml version='1.0' encoding='UTF-8' standalone='yes'?>
<Relationships xmlns="http://schemas.openxmlformats.org/package/2006/relationships"><Relationship Id="rId1" Type="http://schemas.microsoft.com/office/2011/relationships/chartStyle" Target="style829.xml"/><Relationship Id="rId2" Type="http://schemas.microsoft.com/office/2011/relationships/chartColorStyle" Target="colors829.xml"/><Relationship Id="rId3"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microsoft.com/office/2011/relationships/chartStyle" Target="style830.xml"/><Relationship Id="rId2" Type="http://schemas.microsoft.com/office/2011/relationships/chartColorStyle" Target="colors830.xml"/><Relationship Id="rId3"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microsoft.com/office/2011/relationships/chartStyle" Target="style831.xml"/><Relationship Id="rId2" Type="http://schemas.microsoft.com/office/2011/relationships/chartColorStyle" Target="colors831.xml"/><Relationship Id="rId3" Type="http://schemas.openxmlformats.org/officeDocument/2006/relationships/package" Target="../embeddings/Microsoft_Excel_Worksheet1292.xlsx"/></Relationships>
</file>

<file path=ppt/charts/_rels/chart1294.xml.rels><?xml version='1.0' encoding='UTF-8' standalone='yes'?>
<Relationships xmlns="http://schemas.openxmlformats.org/package/2006/relationships"><Relationship Id="rId1" Type="http://schemas.microsoft.com/office/2011/relationships/chartStyle" Target="style832.xml"/><Relationship Id="rId2" Type="http://schemas.microsoft.com/office/2011/relationships/chartColorStyle" Target="colors832.xml"/><Relationship Id="rId3" Type="http://schemas.openxmlformats.org/officeDocument/2006/relationships/package" Target="../embeddings/Microsoft_Excel_Worksheet1293.xlsx"/></Relationships>
</file>

<file path=ppt/charts/_rels/chart1299.xml.rels><?xml version='1.0' encoding='UTF-8' standalone='yes'?>
<Relationships xmlns="http://schemas.openxmlformats.org/package/2006/relationships"><Relationship Id="rId1" Type="http://schemas.microsoft.com/office/2011/relationships/chartStyle" Target="style837.xml"/><Relationship Id="rId2" Type="http://schemas.microsoft.com/office/2011/relationships/chartColorStyle" Target="colors837.xml"/><Relationship Id="rId3" Type="http://schemas.openxmlformats.org/officeDocument/2006/relationships/package" Target="../embeddings/Microsoft_Excel_Worksheet129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00.xml.rels><?xml version='1.0' encoding='UTF-8' standalone='yes'?>
<Relationships xmlns="http://schemas.openxmlformats.org/package/2006/relationships"><Relationship Id="rId1" Type="http://schemas.microsoft.com/office/2011/relationships/chartStyle" Target="style838.xml"/><Relationship Id="rId2" Type="http://schemas.microsoft.com/office/2011/relationships/chartColorStyle" Target="colors838.xml"/><Relationship Id="rId3" Type="http://schemas.openxmlformats.org/officeDocument/2006/relationships/package" Target="../embeddings/Microsoft_Excel_Worksheet1299.xlsx"/></Relationships>
</file>

<file path=ppt/charts/_rels/chart1313.xml.rels><?xml version='1.0' encoding='UTF-8' standalone='yes'?>
<Relationships xmlns="http://schemas.openxmlformats.org/package/2006/relationships"><Relationship Id="rId1" Type="http://schemas.microsoft.com/office/2011/relationships/chartStyle" Target="style851.xml"/><Relationship Id="rId2" Type="http://schemas.microsoft.com/office/2011/relationships/chartColorStyle" Target="colors851.xml"/><Relationship Id="rId3"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microsoft.com/office/2011/relationships/chartStyle" Target="style852.xml"/><Relationship Id="rId2" Type="http://schemas.microsoft.com/office/2011/relationships/chartColorStyle" Target="colors852.xml"/><Relationship Id="rId3" Type="http://schemas.openxmlformats.org/officeDocument/2006/relationships/package" Target="../embeddings/Microsoft_Excel_Worksheet1313.xlsx"/></Relationships>
</file>

<file path=ppt/charts/_rels/chart1321.xml.rels><?xml version='1.0' encoding='UTF-8' standalone='yes'?>
<Relationships xmlns="http://schemas.openxmlformats.org/package/2006/relationships"><Relationship Id="rId1" Type="http://schemas.microsoft.com/office/2011/relationships/chartStyle" Target="style859.xml"/><Relationship Id="rId2" Type="http://schemas.microsoft.com/office/2011/relationships/chartColorStyle" Target="colors859.xml"/><Relationship Id="rId3" Type="http://schemas.openxmlformats.org/officeDocument/2006/relationships/package" Target="../embeddings/Microsoft_Excel_Worksheet1320.xlsx"/></Relationships>
</file>

<file path=ppt/charts/_rels/chart1322.xml.rels><?xml version='1.0' encoding='UTF-8' standalone='yes'?>
<Relationships xmlns="http://schemas.openxmlformats.org/package/2006/relationships"><Relationship Id="rId1" Type="http://schemas.microsoft.com/office/2011/relationships/chartStyle" Target="style860.xml"/><Relationship Id="rId2" Type="http://schemas.microsoft.com/office/2011/relationships/chartColorStyle" Target="colors860.xml"/><Relationship Id="rId3" Type="http://schemas.openxmlformats.org/officeDocument/2006/relationships/package" Target="../embeddings/Microsoft_Excel_Worksheet1321.xlsx"/></Relationships>
</file>

<file path=ppt/charts/_rels/chart1323.xml.rels><?xml version='1.0' encoding='UTF-8' standalone='yes'?>
<Relationships xmlns="http://schemas.openxmlformats.org/package/2006/relationships"><Relationship Id="rId1" Type="http://schemas.microsoft.com/office/2011/relationships/chartStyle" Target="style861.xml"/><Relationship Id="rId2" Type="http://schemas.microsoft.com/office/2011/relationships/chartColorStyle" Target="colors861.xml"/><Relationship Id="rId3" Type="http://schemas.openxmlformats.org/officeDocument/2006/relationships/package" Target="../embeddings/Microsoft_Excel_Worksheet1322.xlsx"/></Relationships>
</file>

<file path=ppt/charts/_rels/chart1324.xml.rels><?xml version='1.0' encoding='UTF-8' standalone='yes'?>
<Relationships xmlns="http://schemas.openxmlformats.org/package/2006/relationships"><Relationship Id="rId1" Type="http://schemas.microsoft.com/office/2011/relationships/chartStyle" Target="style862.xml"/><Relationship Id="rId2" Type="http://schemas.microsoft.com/office/2011/relationships/chartColorStyle" Target="colors862.xml"/><Relationship Id="rId3" Type="http://schemas.openxmlformats.org/officeDocument/2006/relationships/package" Target="../embeddings/Microsoft_Excel_Worksheet1323.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1.xml.rels><?xml version='1.0' encoding='UTF-8' standalone='yes'?>
<Relationships xmlns="http://schemas.openxmlformats.org/package/2006/relationships"><Relationship Id="rId1" Type="http://schemas.microsoft.com/office/2011/relationships/chartStyle" Target="style869.xml"/><Relationship Id="rId2" Type="http://schemas.microsoft.com/office/2011/relationships/chartColorStyle" Target="colors869.xml"/><Relationship Id="rId3"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microsoft.com/office/2011/relationships/chartStyle" Target="style870.xml"/><Relationship Id="rId2" Type="http://schemas.microsoft.com/office/2011/relationships/chartColorStyle" Target="colors870.xml"/><Relationship Id="rId3" Type="http://schemas.openxmlformats.org/officeDocument/2006/relationships/package" Target="../embeddings/Microsoft_Excel_Worksheet1331.xlsx"/></Relationships>
</file>

<file path=ppt/charts/_rels/chart1341.xml.rels><?xml version='1.0' encoding='UTF-8' standalone='yes'?>
<Relationships xmlns="http://schemas.openxmlformats.org/package/2006/relationships"><Relationship Id="rId1" Type="http://schemas.microsoft.com/office/2011/relationships/chartStyle" Target="style879.xml"/><Relationship Id="rId2" Type="http://schemas.microsoft.com/office/2011/relationships/chartColorStyle" Target="colors879.xml"/><Relationship Id="rId3"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microsoft.com/office/2011/relationships/chartStyle" Target="style880.xml"/><Relationship Id="rId2" Type="http://schemas.microsoft.com/office/2011/relationships/chartColorStyle" Target="colors880.xml"/><Relationship Id="rId3" Type="http://schemas.openxmlformats.org/officeDocument/2006/relationships/package" Target="../embeddings/Microsoft_Excel_Worksheet1341.xlsx"/></Relationships>
</file>

<file path=ppt/charts/_rels/chart1343.xml.rels><?xml version='1.0' encoding='UTF-8' standalone='yes'?>
<Relationships xmlns="http://schemas.openxmlformats.org/package/2006/relationships"><Relationship Id="rId1" Type="http://schemas.microsoft.com/office/2011/relationships/chartStyle" Target="style881.xml"/><Relationship Id="rId2" Type="http://schemas.microsoft.com/office/2011/relationships/chartColorStyle" Target="colors881.xml"/><Relationship Id="rId3" Type="http://schemas.openxmlformats.org/officeDocument/2006/relationships/package" Target="../embeddings/Microsoft_Excel_Worksheet1342.xlsx"/></Relationships>
</file>

<file path=ppt/charts/_rels/chart1344.xml.rels><?xml version='1.0' encoding='UTF-8' standalone='yes'?>
<Relationships xmlns="http://schemas.openxmlformats.org/package/2006/relationships"><Relationship Id="rId1" Type="http://schemas.microsoft.com/office/2011/relationships/chartStyle" Target="style882.xml"/><Relationship Id="rId2" Type="http://schemas.microsoft.com/office/2011/relationships/chartColorStyle" Target="colors882.xml"/><Relationship Id="rId3" Type="http://schemas.openxmlformats.org/officeDocument/2006/relationships/package" Target="../embeddings/Microsoft_Excel_Worksheet1343.xlsx"/></Relationships>
</file>

<file path=ppt/charts/_rels/chart1353.xml.rels><?xml version='1.0' encoding='UTF-8' standalone='yes'?>
<Relationships xmlns="http://schemas.openxmlformats.org/package/2006/relationships"><Relationship Id="rId1" Type="http://schemas.microsoft.com/office/2011/relationships/chartStyle" Target="style891.xml"/><Relationship Id="rId2" Type="http://schemas.microsoft.com/office/2011/relationships/chartColorStyle" Target="colors891.xml"/><Relationship Id="rId3"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microsoft.com/office/2011/relationships/chartStyle" Target="style892.xml"/><Relationship Id="rId2" Type="http://schemas.microsoft.com/office/2011/relationships/chartColorStyle" Target="colors892.xml"/><Relationship Id="rId3"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microsoft.com/office/2011/relationships/chartStyle" Target="style893.xml"/><Relationship Id="rId2" Type="http://schemas.microsoft.com/office/2011/relationships/chartColorStyle" Target="colors893.xml"/><Relationship Id="rId3"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microsoft.com/office/2011/relationships/chartStyle" Target="style894.xml"/><Relationship Id="rId2" Type="http://schemas.microsoft.com/office/2011/relationships/chartColorStyle" Target="colors894.xml"/><Relationship Id="rId3"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microsoft.com/office/2011/relationships/chartStyle" Target="style895.xml"/><Relationship Id="rId2" Type="http://schemas.microsoft.com/office/2011/relationships/chartColorStyle" Target="colors895.xml"/><Relationship Id="rId3"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microsoft.com/office/2011/relationships/chartStyle" Target="style896.xml"/><Relationship Id="rId2" Type="http://schemas.microsoft.com/office/2011/relationships/chartColorStyle" Target="colors896.xml"/><Relationship Id="rId3" Type="http://schemas.openxmlformats.org/officeDocument/2006/relationships/package" Target="../embeddings/Microsoft_Excel_Worksheet1357.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63.xml.rels><?xml version='1.0' encoding='UTF-8' standalone='yes'?>
<Relationships xmlns="http://schemas.openxmlformats.org/package/2006/relationships"><Relationship Id="rId1" Type="http://schemas.microsoft.com/office/2011/relationships/chartStyle" Target="style901.xml"/><Relationship Id="rId2" Type="http://schemas.microsoft.com/office/2011/relationships/chartColorStyle" Target="colors901.xml"/><Relationship Id="rId3" Type="http://schemas.openxmlformats.org/officeDocument/2006/relationships/package" Target="../embeddings/Microsoft_Excel_Worksheet1362.xlsx"/></Relationships>
</file>

<file path=ppt/charts/_rels/chart1364.xml.rels><?xml version='1.0' encoding='UTF-8' standalone='yes'?>
<Relationships xmlns="http://schemas.openxmlformats.org/package/2006/relationships"><Relationship Id="rId1" Type="http://schemas.microsoft.com/office/2011/relationships/chartStyle" Target="style902.xml"/><Relationship Id="rId2" Type="http://schemas.microsoft.com/office/2011/relationships/chartColorStyle" Target="colors902.xml"/><Relationship Id="rId3" Type="http://schemas.openxmlformats.org/officeDocument/2006/relationships/package" Target="../embeddings/Microsoft_Excel_Worksheet1363.xlsx"/></Relationships>
</file>

<file path=ppt/charts/_rels/chart1369.xml.rels><?xml version='1.0' encoding='UTF-8' standalone='yes'?>
<Relationships xmlns="http://schemas.openxmlformats.org/package/2006/relationships"><Relationship Id="rId1" Type="http://schemas.microsoft.com/office/2011/relationships/chartStyle" Target="style907.xml"/><Relationship Id="rId2" Type="http://schemas.microsoft.com/office/2011/relationships/chartColorStyle" Target="colors907.xml"/><Relationship Id="rId3" Type="http://schemas.openxmlformats.org/officeDocument/2006/relationships/package" Target="../embeddings/Microsoft_Excel_Worksheet1368.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70.xml.rels><?xml version='1.0' encoding='UTF-8' standalone='yes'?>
<Relationships xmlns="http://schemas.openxmlformats.org/package/2006/relationships"><Relationship Id="rId1" Type="http://schemas.microsoft.com/office/2011/relationships/chartStyle" Target="style908.xml"/><Relationship Id="rId2" Type="http://schemas.microsoft.com/office/2011/relationships/chartColorStyle" Target="colors908.xml"/><Relationship Id="rId3" Type="http://schemas.openxmlformats.org/officeDocument/2006/relationships/package" Target="../embeddings/Microsoft_Excel_Worksheet1369.xlsx"/></Relationships>
</file>

<file path=ppt/charts/_rels/chart1385.xml.rels><?xml version='1.0' encoding='UTF-8' standalone='yes'?>
<Relationships xmlns="http://schemas.openxmlformats.org/package/2006/relationships"><Relationship Id="rId1" Type="http://schemas.microsoft.com/office/2011/relationships/chartStyle" Target="style923.xml"/><Relationship Id="rId2" Type="http://schemas.microsoft.com/office/2011/relationships/chartColorStyle" Target="colors923.xml"/><Relationship Id="rId3"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microsoft.com/office/2011/relationships/chartStyle" Target="style924.xml"/><Relationship Id="rId2" Type="http://schemas.microsoft.com/office/2011/relationships/chartColorStyle" Target="colors924.xml"/><Relationship Id="rId3"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microsoft.com/office/2011/relationships/chartStyle" Target="style925.xml"/><Relationship Id="rId2" Type="http://schemas.microsoft.com/office/2011/relationships/chartColorStyle" Target="colors925.xml"/><Relationship Id="rId3"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microsoft.com/office/2011/relationships/chartStyle" Target="style926.xml"/><Relationship Id="rId2" Type="http://schemas.microsoft.com/office/2011/relationships/chartColorStyle" Target="colors926.xml"/><Relationship Id="rId3" Type="http://schemas.openxmlformats.org/officeDocument/2006/relationships/package" Target="../embeddings/Microsoft_Excel_Worksheet1387.xlsx"/></Relationships>
</file>

<file path=ppt/charts/_rels/chart1389.xml.rels><?xml version='1.0' encoding='UTF-8' standalone='yes'?>
<Relationships xmlns="http://schemas.openxmlformats.org/package/2006/relationships"><Relationship Id="rId1" Type="http://schemas.microsoft.com/office/2011/relationships/chartStyle" Target="style927.xml"/><Relationship Id="rId2" Type="http://schemas.microsoft.com/office/2011/relationships/chartColorStyle" Target="colors927.xml"/><Relationship Id="rId3" Type="http://schemas.openxmlformats.org/officeDocument/2006/relationships/package" Target="../embeddings/Microsoft_Excel_Worksheet1388.xlsx"/></Relationships>
</file>

<file path=ppt/charts/_rels/chart1390.xml.rels><?xml version='1.0' encoding='UTF-8' standalone='yes'?>
<Relationships xmlns="http://schemas.openxmlformats.org/package/2006/relationships"><Relationship Id="rId1" Type="http://schemas.microsoft.com/office/2011/relationships/chartStyle" Target="style928.xml"/><Relationship Id="rId2" Type="http://schemas.microsoft.com/office/2011/relationships/chartColorStyle" Target="colors928.xml"/><Relationship Id="rId3" Type="http://schemas.openxmlformats.org/officeDocument/2006/relationships/package" Target="../embeddings/Microsoft_Excel_Worksheet1389.xlsx"/></Relationships>
</file>

<file path=ppt/charts/_rels/chart1399.xml.rels><?xml version='1.0' encoding='UTF-8' standalone='yes'?>
<Relationships xmlns="http://schemas.openxmlformats.org/package/2006/relationships"><Relationship Id="rId1" Type="http://schemas.microsoft.com/office/2011/relationships/chartStyle" Target="style937.xml"/><Relationship Id="rId2" Type="http://schemas.microsoft.com/office/2011/relationships/chartColorStyle" Target="colors937.xml"/><Relationship Id="rId3" Type="http://schemas.openxmlformats.org/officeDocument/2006/relationships/package" Target="../embeddings/Microsoft_Excel_Worksheet1398.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microsoft.com/office/2011/relationships/chartStyle" Target="style938.xml"/><Relationship Id="rId2" Type="http://schemas.microsoft.com/office/2011/relationships/chartColorStyle" Target="colors938.xml"/><Relationship Id="rId3"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microsoft.com/office/2011/relationships/chartStyle" Target="style939.xml"/><Relationship Id="rId2" Type="http://schemas.microsoft.com/office/2011/relationships/chartColorStyle" Target="colors939.xml"/><Relationship Id="rId3"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microsoft.com/office/2011/relationships/chartStyle" Target="style940.xml"/><Relationship Id="rId2" Type="http://schemas.microsoft.com/office/2011/relationships/chartColorStyle" Target="colors940.xml"/><Relationship Id="rId3" Type="http://schemas.openxmlformats.org/officeDocument/2006/relationships/package" Target="../embeddings/Microsoft_Excel_Worksheet1401.xlsx"/></Relationships>
</file>

<file path=ppt/charts/_rels/chart1407.xml.rels><?xml version='1.0' encoding='UTF-8' standalone='yes'?>
<Relationships xmlns="http://schemas.openxmlformats.org/package/2006/relationships"><Relationship Id="rId1" Type="http://schemas.microsoft.com/office/2011/relationships/chartStyle" Target="style945.xml"/><Relationship Id="rId2" Type="http://schemas.microsoft.com/office/2011/relationships/chartColorStyle" Target="colors945.xml"/><Relationship Id="rId3" Type="http://schemas.openxmlformats.org/officeDocument/2006/relationships/package" Target="../embeddings/Microsoft_Excel_Worksheet1406.xlsx"/></Relationships>
</file>

<file path=ppt/charts/_rels/chart1408.xml.rels><?xml version='1.0' encoding='UTF-8' standalone='yes'?>
<Relationships xmlns="http://schemas.openxmlformats.org/package/2006/relationships"><Relationship Id="rId1" Type="http://schemas.microsoft.com/office/2011/relationships/chartStyle" Target="style946.xml"/><Relationship Id="rId2" Type="http://schemas.microsoft.com/office/2011/relationships/chartColorStyle" Target="colors946.xml"/><Relationship Id="rId3" Type="http://schemas.openxmlformats.org/officeDocument/2006/relationships/package" Target="../embeddings/Microsoft_Excel_Worksheet1407.xlsx"/></Relationships>
</file>

<file path=ppt/charts/_rels/chart1411.xml.rels><?xml version='1.0' encoding='UTF-8' standalone='yes'?>
<Relationships xmlns="http://schemas.openxmlformats.org/package/2006/relationships"><Relationship Id="rId1" Type="http://schemas.microsoft.com/office/2011/relationships/chartStyle" Target="style949.xml"/><Relationship Id="rId2" Type="http://schemas.microsoft.com/office/2011/relationships/chartColorStyle" Target="colors949.xml"/><Relationship Id="rId3"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microsoft.com/office/2011/relationships/chartStyle" Target="style950.xml"/><Relationship Id="rId2" Type="http://schemas.microsoft.com/office/2011/relationships/chartColorStyle" Target="colors950.xml"/><Relationship Id="rId3"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microsoft.com/office/2011/relationships/chartStyle" Target="style951.xml"/><Relationship Id="rId2" Type="http://schemas.microsoft.com/office/2011/relationships/chartColorStyle" Target="colors951.xml"/><Relationship Id="rId3"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microsoft.com/office/2011/relationships/chartStyle" Target="style952.xml"/><Relationship Id="rId2" Type="http://schemas.microsoft.com/office/2011/relationships/chartColorStyle" Target="colors952.xml"/><Relationship Id="rId3" Type="http://schemas.openxmlformats.org/officeDocument/2006/relationships/package" Target="../embeddings/Microsoft_Excel_Worksheet1413.xlsx"/></Relationships>
</file>

<file path=ppt/charts/_rels/chart1433.xml.rels><?xml version='1.0' encoding='UTF-8' standalone='yes'?>
<Relationships xmlns="http://schemas.openxmlformats.org/package/2006/relationships"><Relationship Id="rId1" Type="http://schemas.microsoft.com/office/2011/relationships/chartStyle" Target="style971.xml"/><Relationship Id="rId2" Type="http://schemas.microsoft.com/office/2011/relationships/chartColorStyle" Target="colors971.xml"/><Relationship Id="rId3" Type="http://schemas.openxmlformats.org/officeDocument/2006/relationships/package" Target="../embeddings/Microsoft_Excel_Worksheet1432.xlsx"/></Relationships>
</file>

<file path=ppt/charts/_rels/chart1434.xml.rels><?xml version='1.0' encoding='UTF-8' standalone='yes'?>
<Relationships xmlns="http://schemas.openxmlformats.org/package/2006/relationships"><Relationship Id="rId1" Type="http://schemas.microsoft.com/office/2011/relationships/chartStyle" Target="style972.xml"/><Relationship Id="rId2" Type="http://schemas.microsoft.com/office/2011/relationships/chartColorStyle" Target="colors972.xml"/><Relationship Id="rId3" Type="http://schemas.openxmlformats.org/officeDocument/2006/relationships/package" Target="../embeddings/Microsoft_Excel_Worksheet1433.xlsx"/></Relationships>
</file>

<file path=ppt/charts/_rels/chart1443.xml.rels><?xml version='1.0' encoding='UTF-8' standalone='yes'?>
<Relationships xmlns="http://schemas.openxmlformats.org/package/2006/relationships"><Relationship Id="rId1" Type="http://schemas.microsoft.com/office/2011/relationships/chartStyle" Target="style981.xml"/><Relationship Id="rId2" Type="http://schemas.microsoft.com/office/2011/relationships/chartColorStyle" Target="colors981.xml"/><Relationship Id="rId3" Type="http://schemas.openxmlformats.org/officeDocument/2006/relationships/package" Target="../embeddings/Microsoft_Excel_Worksheet1442.xlsx"/></Relationships>
</file>

<file path=ppt/charts/_rels/chart1444.xml.rels><?xml version='1.0' encoding='UTF-8' standalone='yes'?>
<Relationships xmlns="http://schemas.openxmlformats.org/package/2006/relationships"><Relationship Id="rId1" Type="http://schemas.microsoft.com/office/2011/relationships/chartStyle" Target="style982.xml"/><Relationship Id="rId2" Type="http://schemas.microsoft.com/office/2011/relationships/chartColorStyle" Target="colors982.xml"/><Relationship Id="rId3" Type="http://schemas.openxmlformats.org/officeDocument/2006/relationships/package" Target="../embeddings/Microsoft_Excel_Worksheet1443.xlsx"/></Relationships>
</file>

<file path=ppt/charts/_rels/chart1445.xml.rels><?xml version='1.0' encoding='UTF-8' standalone='yes'?>
<Relationships xmlns="http://schemas.openxmlformats.org/package/2006/relationships"><Relationship Id="rId1" Type="http://schemas.microsoft.com/office/2011/relationships/chartStyle" Target="style983.xml"/><Relationship Id="rId2" Type="http://schemas.microsoft.com/office/2011/relationships/chartColorStyle" Target="colors983.xml"/><Relationship Id="rId3"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microsoft.com/office/2011/relationships/chartStyle" Target="style984.xml"/><Relationship Id="rId2" Type="http://schemas.microsoft.com/office/2011/relationships/chartColorStyle" Target="colors984.xml"/><Relationship Id="rId3" Type="http://schemas.openxmlformats.org/officeDocument/2006/relationships/package" Target="../embeddings/Microsoft_Excel_Worksheet1445.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55.xml.rels><?xml version='1.0' encoding='UTF-8' standalone='yes'?>
<Relationships xmlns="http://schemas.openxmlformats.org/package/2006/relationships"><Relationship Id="rId1" Type="http://schemas.microsoft.com/office/2011/relationships/chartStyle" Target="style993.xml"/><Relationship Id="rId2" Type="http://schemas.microsoft.com/office/2011/relationships/chartColorStyle" Target="colors993.xml"/><Relationship Id="rId3" Type="http://schemas.openxmlformats.org/officeDocument/2006/relationships/package" Target="../embeddings/Microsoft_Excel_Worksheet1454.xlsx"/></Relationships>
</file>

<file path=ppt/charts/_rels/chart1456.xml.rels><?xml version='1.0' encoding='UTF-8' standalone='yes'?>
<Relationships xmlns="http://schemas.openxmlformats.org/package/2006/relationships"><Relationship Id="rId1" Type="http://schemas.microsoft.com/office/2011/relationships/chartStyle" Target="style994.xml"/><Relationship Id="rId2" Type="http://schemas.microsoft.com/office/2011/relationships/chartColorStyle" Target="colors994.xml"/><Relationship Id="rId3"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microsoft.com/office/2011/relationships/chartStyle" Target="style995.xml"/><Relationship Id="rId2" Type="http://schemas.microsoft.com/office/2011/relationships/chartColorStyle" Target="colors995.xml"/><Relationship Id="rId3"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microsoft.com/office/2011/relationships/chartStyle" Target="style996.xml"/><Relationship Id="rId2" Type="http://schemas.microsoft.com/office/2011/relationships/chartColorStyle" Target="colors996.xml"/><Relationship Id="rId3" Type="http://schemas.openxmlformats.org/officeDocument/2006/relationships/package" Target="../embeddings/Microsoft_Excel_Worksheet1457.xlsx"/></Relationships>
</file>

<file path=ppt/charts/_rels/chart1469.xml.rels><?xml version='1.0' encoding='UTF-8' standalone='yes'?>
<Relationships xmlns="http://schemas.openxmlformats.org/package/2006/relationships"><Relationship Id="rId1" Type="http://schemas.microsoft.com/office/2011/relationships/chartStyle" Target="style1007.xml"/><Relationship Id="rId2" Type="http://schemas.microsoft.com/office/2011/relationships/chartColorStyle" Target="colors1007.xml"/><Relationship Id="rId3" Type="http://schemas.openxmlformats.org/officeDocument/2006/relationships/package" Target="../embeddings/Microsoft_Excel_Worksheet1468.xlsx"/></Relationships>
</file>

<file path=ppt/charts/_rels/chart1470.xml.rels><?xml version='1.0' encoding='UTF-8' standalone='yes'?>
<Relationships xmlns="http://schemas.openxmlformats.org/package/2006/relationships"><Relationship Id="rId1" Type="http://schemas.microsoft.com/office/2011/relationships/chartStyle" Target="style1008.xml"/><Relationship Id="rId2" Type="http://schemas.microsoft.com/office/2011/relationships/chartColorStyle" Target="colors1008.xml"/><Relationship Id="rId3" Type="http://schemas.openxmlformats.org/officeDocument/2006/relationships/package" Target="../embeddings/Microsoft_Excel_Worksheet1469.xlsx"/></Relationships>
</file>

<file path=ppt/charts/_rels/chart1471.xml.rels><?xml version='1.0' encoding='UTF-8' standalone='yes'?>
<Relationships xmlns="http://schemas.openxmlformats.org/package/2006/relationships"><Relationship Id="rId1" Type="http://schemas.microsoft.com/office/2011/relationships/chartStyle" Target="style1009.xml"/><Relationship Id="rId2" Type="http://schemas.microsoft.com/office/2011/relationships/chartColorStyle" Target="colors1009.xml"/><Relationship Id="rId3" Type="http://schemas.openxmlformats.org/officeDocument/2006/relationships/package" Target="../embeddings/Microsoft_Excel_Worksheet1470.xlsx"/></Relationships>
</file>

<file path=ppt/charts/_rels/chart1472.xml.rels><?xml version='1.0' encoding='UTF-8' standalone='yes'?>
<Relationships xmlns="http://schemas.openxmlformats.org/package/2006/relationships"><Relationship Id="rId1" Type="http://schemas.microsoft.com/office/2011/relationships/chartStyle" Target="style1010.xml"/><Relationship Id="rId2" Type="http://schemas.microsoft.com/office/2011/relationships/chartColorStyle" Target="colors1010.xml"/><Relationship Id="rId3" Type="http://schemas.openxmlformats.org/officeDocument/2006/relationships/package" Target="../embeddings/Microsoft_Excel_Worksheet1471.xlsx"/></Relationships>
</file>

<file path=ppt/charts/_rels/chart1477.xml.rels><?xml version='1.0' encoding='UTF-8' standalone='yes'?>
<Relationships xmlns="http://schemas.openxmlformats.org/package/2006/relationships"><Relationship Id="rId1" Type="http://schemas.microsoft.com/office/2011/relationships/chartStyle" Target="style1015.xml"/><Relationship Id="rId2" Type="http://schemas.microsoft.com/office/2011/relationships/chartColorStyle" Target="colors1015.xml"/><Relationship Id="rId3" Type="http://schemas.openxmlformats.org/officeDocument/2006/relationships/package" Target="../embeddings/Microsoft_Excel_Worksheet1476.xlsx"/></Relationships>
</file>

<file path=ppt/charts/_rels/chart1478.xml.rels><?xml version='1.0' encoding='UTF-8' standalone='yes'?>
<Relationships xmlns="http://schemas.openxmlformats.org/package/2006/relationships"><Relationship Id="rId1" Type="http://schemas.microsoft.com/office/2011/relationships/chartStyle" Target="style1016.xml"/><Relationship Id="rId2" Type="http://schemas.microsoft.com/office/2011/relationships/chartColorStyle" Target="colors1016.xml"/><Relationship Id="rId3" Type="http://schemas.openxmlformats.org/officeDocument/2006/relationships/package" Target="../embeddings/Microsoft_Excel_Worksheet1477.xlsx"/></Relationships>
</file>

<file path=ppt/charts/_rels/chart1487.xml.rels><?xml version='1.0' encoding='UTF-8' standalone='yes'?>
<Relationships xmlns="http://schemas.openxmlformats.org/package/2006/relationships"><Relationship Id="rId1" Type="http://schemas.microsoft.com/office/2011/relationships/chartStyle" Target="style1025.xml"/><Relationship Id="rId2" Type="http://schemas.microsoft.com/office/2011/relationships/chartColorStyle" Target="colors1025.xml"/><Relationship Id="rId3" Type="http://schemas.openxmlformats.org/officeDocument/2006/relationships/package" Target="../embeddings/Microsoft_Excel_Worksheet1486.xlsx"/></Relationships>
</file>

<file path=ppt/charts/_rels/chart1488.xml.rels><?xml version='1.0' encoding='UTF-8' standalone='yes'?>
<Relationships xmlns="http://schemas.openxmlformats.org/package/2006/relationships"><Relationship Id="rId1" Type="http://schemas.microsoft.com/office/2011/relationships/chartStyle" Target="style1026.xml"/><Relationship Id="rId2" Type="http://schemas.microsoft.com/office/2011/relationships/chartColorStyle" Target="colors1026.xml"/><Relationship Id="rId3" Type="http://schemas.openxmlformats.org/officeDocument/2006/relationships/package" Target="../embeddings/Microsoft_Excel_Worksheet1487.xlsx"/></Relationships>
</file>

<file path=ppt/charts/_rels/chart1491.xml.rels><?xml version='1.0' encoding='UTF-8' standalone='yes'?>
<Relationships xmlns="http://schemas.openxmlformats.org/package/2006/relationships"><Relationship Id="rId1" Type="http://schemas.microsoft.com/office/2011/relationships/chartStyle" Target="style1029.xml"/><Relationship Id="rId2" Type="http://schemas.microsoft.com/office/2011/relationships/chartColorStyle" Target="colors1029.xml"/><Relationship Id="rId3" Type="http://schemas.openxmlformats.org/officeDocument/2006/relationships/package" Target="../embeddings/Microsoft_Excel_Worksheet1490.xlsx"/></Relationships>
</file>

<file path=ppt/charts/_rels/chart1492.xml.rels><?xml version='1.0' encoding='UTF-8' standalone='yes'?>
<Relationships xmlns="http://schemas.openxmlformats.org/package/2006/relationships"><Relationship Id="rId1" Type="http://schemas.microsoft.com/office/2011/relationships/chartStyle" Target="style1030.xml"/><Relationship Id="rId2" Type="http://schemas.microsoft.com/office/2011/relationships/chartColorStyle" Target="colors1030.xml"/><Relationship Id="rId3" Type="http://schemas.openxmlformats.org/officeDocument/2006/relationships/package" Target="../embeddings/Microsoft_Excel_Worksheet1491.xlsx"/></Relationships>
</file>

<file path=ppt/charts/_rels/chart1499.xml.rels><?xml version='1.0' encoding='UTF-8' standalone='yes'?>
<Relationships xmlns="http://schemas.openxmlformats.org/package/2006/relationships"><Relationship Id="rId1" Type="http://schemas.microsoft.com/office/2011/relationships/chartStyle" Target="style1037.xml"/><Relationship Id="rId2" Type="http://schemas.microsoft.com/office/2011/relationships/chartColorStyle" Target="colors1037.xml"/><Relationship Id="rId3" Type="http://schemas.openxmlformats.org/officeDocument/2006/relationships/package" Target="../embeddings/Microsoft_Excel_Worksheet1498.xlsx"/></Relationships>
</file>

<file path=ppt/charts/_rels/chart1500.xml.rels><?xml version='1.0' encoding='UTF-8' standalone='yes'?>
<Relationships xmlns="http://schemas.openxmlformats.org/package/2006/relationships"><Relationship Id="rId1" Type="http://schemas.microsoft.com/office/2011/relationships/chartStyle" Target="style1038.xml"/><Relationship Id="rId2" Type="http://schemas.microsoft.com/office/2011/relationships/chartColorStyle" Target="colors1038.xml"/><Relationship Id="rId3" Type="http://schemas.openxmlformats.org/officeDocument/2006/relationships/package" Target="../embeddings/Microsoft_Excel_Worksheet1499.xlsx"/></Relationships>
</file>

<file path=ppt/charts/_rels/chart1501.xml.rels><?xml version='1.0' encoding='UTF-8' standalone='yes'?>
<Relationships xmlns="http://schemas.openxmlformats.org/package/2006/relationships"><Relationship Id="rId1" Type="http://schemas.microsoft.com/office/2011/relationships/chartStyle" Target="style1039.xml"/><Relationship Id="rId2" Type="http://schemas.microsoft.com/office/2011/relationships/chartColorStyle" Target="colors1039.xml"/><Relationship Id="rId3" Type="http://schemas.openxmlformats.org/officeDocument/2006/relationships/package" Target="../embeddings/Microsoft_Excel_Worksheet1500.xlsx"/></Relationships>
</file>

<file path=ppt/charts/_rels/chart1502.xml.rels><?xml version='1.0' encoding='UTF-8' standalone='yes'?>
<Relationships xmlns="http://schemas.openxmlformats.org/package/2006/relationships"><Relationship Id="rId1" Type="http://schemas.microsoft.com/office/2011/relationships/chartStyle" Target="style1040.xml"/><Relationship Id="rId2" Type="http://schemas.microsoft.com/office/2011/relationships/chartColorStyle" Target="colors1040.xml"/><Relationship Id="rId3" Type="http://schemas.openxmlformats.org/officeDocument/2006/relationships/package" Target="../embeddings/Microsoft_Excel_Worksheet1501.xlsx"/></Relationships>
</file>

<file path=ppt/charts/_rels/chart1503.xml.rels><?xml version='1.0' encoding='UTF-8' standalone='yes'?>
<Relationships xmlns="http://schemas.openxmlformats.org/package/2006/relationships"><Relationship Id="rId1" Type="http://schemas.microsoft.com/office/2011/relationships/chartStyle" Target="style1041.xml"/><Relationship Id="rId2" Type="http://schemas.microsoft.com/office/2011/relationships/chartColorStyle" Target="colors1041.xml"/><Relationship Id="rId3"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microsoft.com/office/2011/relationships/chartStyle" Target="style1042.xml"/><Relationship Id="rId2" Type="http://schemas.microsoft.com/office/2011/relationships/chartColorStyle" Target="colors1042.xml"/><Relationship Id="rId3" Type="http://schemas.openxmlformats.org/officeDocument/2006/relationships/package" Target="../embeddings/Microsoft_Excel_Worksheet1503.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13.xml.rels><?xml version='1.0' encoding='UTF-8' standalone='yes'?>
<Relationships xmlns="http://schemas.openxmlformats.org/package/2006/relationships"><Relationship Id="rId1" Type="http://schemas.microsoft.com/office/2011/relationships/chartStyle" Target="style1051.xml"/><Relationship Id="rId2" Type="http://schemas.microsoft.com/office/2011/relationships/chartColorStyle" Target="colors1051.xml"/><Relationship Id="rId3" Type="http://schemas.openxmlformats.org/officeDocument/2006/relationships/package" Target="../embeddings/Microsoft_Excel_Worksheet1512.xlsx"/></Relationships>
</file>

<file path=ppt/charts/_rels/chart1514.xml.rels><?xml version='1.0' encoding='UTF-8' standalone='yes'?>
<Relationships xmlns="http://schemas.openxmlformats.org/package/2006/relationships"><Relationship Id="rId1" Type="http://schemas.microsoft.com/office/2011/relationships/chartStyle" Target="style1052.xml"/><Relationship Id="rId2" Type="http://schemas.microsoft.com/office/2011/relationships/chartColorStyle" Target="colors1052.xml"/><Relationship Id="rId3" Type="http://schemas.openxmlformats.org/officeDocument/2006/relationships/package" Target="../embeddings/Microsoft_Excel_Worksheet1513.xlsx"/></Relationships>
</file>

<file path=ppt/charts/_rels/chart1515.xml.rels><?xml version='1.0' encoding='UTF-8' standalone='yes'?>
<Relationships xmlns="http://schemas.openxmlformats.org/package/2006/relationships"><Relationship Id="rId1" Type="http://schemas.microsoft.com/office/2011/relationships/chartStyle" Target="style1053.xml"/><Relationship Id="rId2" Type="http://schemas.microsoft.com/office/2011/relationships/chartColorStyle" Target="colors1053.xml"/><Relationship Id="rId3" Type="http://schemas.openxmlformats.org/officeDocument/2006/relationships/package" Target="../embeddings/Microsoft_Excel_Worksheet1514.xlsx"/></Relationships>
</file>

<file path=ppt/charts/_rels/chart1516.xml.rels><?xml version='1.0' encoding='UTF-8' standalone='yes'?>
<Relationships xmlns="http://schemas.openxmlformats.org/package/2006/relationships"><Relationship Id="rId1" Type="http://schemas.microsoft.com/office/2011/relationships/chartStyle" Target="style1054.xml"/><Relationship Id="rId2" Type="http://schemas.microsoft.com/office/2011/relationships/chartColorStyle" Target="colors1054.xml"/><Relationship Id="rId3" Type="http://schemas.openxmlformats.org/officeDocument/2006/relationships/package" Target="../embeddings/Microsoft_Excel_Worksheet1515.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21.xml.rels><?xml version='1.0' encoding='UTF-8' standalone='yes'?>
<Relationships xmlns="http://schemas.openxmlformats.org/package/2006/relationships"><Relationship Id="rId1" Type="http://schemas.microsoft.com/office/2011/relationships/chartStyle" Target="style1059.xml"/><Relationship Id="rId2" Type="http://schemas.microsoft.com/office/2011/relationships/chartColorStyle" Target="colors1059.xml"/><Relationship Id="rId3" Type="http://schemas.openxmlformats.org/officeDocument/2006/relationships/package" Target="../embeddings/Microsoft_Excel_Worksheet1520.xlsx"/></Relationships>
</file>

<file path=ppt/charts/_rels/chart1522.xml.rels><?xml version='1.0' encoding='UTF-8' standalone='yes'?>
<Relationships xmlns="http://schemas.openxmlformats.org/package/2006/relationships"><Relationship Id="rId1" Type="http://schemas.microsoft.com/office/2011/relationships/chartStyle" Target="style1060.xml"/><Relationship Id="rId2" Type="http://schemas.microsoft.com/office/2011/relationships/chartColorStyle" Target="colors1060.xml"/><Relationship Id="rId3" Type="http://schemas.openxmlformats.org/officeDocument/2006/relationships/package" Target="../embeddings/Microsoft_Excel_Worksheet1521.xlsx"/></Relationships>
</file>

<file path=ppt/charts/_rels/chart1533.xml.rels><?xml version='1.0' encoding='UTF-8' standalone='yes'?>
<Relationships xmlns="http://schemas.openxmlformats.org/package/2006/relationships"><Relationship Id="rId1" Type="http://schemas.microsoft.com/office/2011/relationships/chartStyle" Target="style1071.xml"/><Relationship Id="rId2" Type="http://schemas.microsoft.com/office/2011/relationships/chartColorStyle" Target="colors1071.xml"/><Relationship Id="rId3"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microsoft.com/office/2011/relationships/chartStyle" Target="style1072.xml"/><Relationship Id="rId2" Type="http://schemas.microsoft.com/office/2011/relationships/chartColorStyle" Target="colors1072.xml"/><Relationship Id="rId3" Type="http://schemas.openxmlformats.org/officeDocument/2006/relationships/package" Target="../embeddings/Microsoft_Excel_Worksheet1533.xlsx"/></Relationships>
</file>

<file path=ppt/charts/_rels/chart1535.xml.rels><?xml version='1.0' encoding='UTF-8' standalone='yes'?>
<Relationships xmlns="http://schemas.openxmlformats.org/package/2006/relationships"><Relationship Id="rId1" Type="http://schemas.microsoft.com/office/2011/relationships/chartStyle" Target="style1073.xml"/><Relationship Id="rId2" Type="http://schemas.microsoft.com/office/2011/relationships/chartColorStyle" Target="colors1073.xml"/><Relationship Id="rId3" Type="http://schemas.openxmlformats.org/officeDocument/2006/relationships/package" Target="../embeddings/Microsoft_Excel_Worksheet1534.xlsx"/></Relationships>
</file>

<file path=ppt/charts/_rels/chart1536.xml.rels><?xml version='1.0' encoding='UTF-8' standalone='yes'?>
<Relationships xmlns="http://schemas.openxmlformats.org/package/2006/relationships"><Relationship Id="rId1" Type="http://schemas.microsoft.com/office/2011/relationships/chartStyle" Target="style1074.xml"/><Relationship Id="rId2" Type="http://schemas.microsoft.com/office/2011/relationships/chartColorStyle" Target="colors1074.xml"/><Relationship Id="rId3" Type="http://schemas.openxmlformats.org/officeDocument/2006/relationships/package" Target="../embeddings/Microsoft_Excel_Worksheet1535.xlsx"/></Relationships>
</file>

<file path=ppt/charts/_rels/chart1541.xml.rels><?xml version='1.0' encoding='UTF-8' standalone='yes'?>
<Relationships xmlns="http://schemas.openxmlformats.org/package/2006/relationships"><Relationship Id="rId1" Type="http://schemas.microsoft.com/office/2011/relationships/chartStyle" Target="style1079.xml"/><Relationship Id="rId2" Type="http://schemas.microsoft.com/office/2011/relationships/chartColorStyle" Target="colors1079.xml"/><Relationship Id="rId3" Type="http://schemas.openxmlformats.org/officeDocument/2006/relationships/package" Target="../embeddings/Microsoft_Excel_Worksheet1540.xlsx"/></Relationships>
</file>

<file path=ppt/charts/_rels/chart1542.xml.rels><?xml version='1.0' encoding='UTF-8' standalone='yes'?>
<Relationships xmlns="http://schemas.openxmlformats.org/package/2006/relationships"><Relationship Id="rId1" Type="http://schemas.microsoft.com/office/2011/relationships/chartStyle" Target="style1080.xml"/><Relationship Id="rId2" Type="http://schemas.microsoft.com/office/2011/relationships/chartColorStyle" Target="colors1080.xml"/><Relationship Id="rId3" Type="http://schemas.openxmlformats.org/officeDocument/2006/relationships/package" Target="../embeddings/Microsoft_Excel_Worksheet1541.xlsx"/></Relationships>
</file>

<file path=ppt/charts/_rels/chart1563.xml.rels><?xml version='1.0' encoding='UTF-8' standalone='yes'?>
<Relationships xmlns="http://schemas.openxmlformats.org/package/2006/relationships"><Relationship Id="rId1" Type="http://schemas.microsoft.com/office/2011/relationships/chartStyle" Target="style1101.xml"/><Relationship Id="rId2" Type="http://schemas.microsoft.com/office/2011/relationships/chartColorStyle" Target="colors1101.xml"/><Relationship Id="rId3"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microsoft.com/office/2011/relationships/chartStyle" Target="style1102.xml"/><Relationship Id="rId2" Type="http://schemas.microsoft.com/office/2011/relationships/chartColorStyle" Target="colors1102.xml"/><Relationship Id="rId3" Type="http://schemas.openxmlformats.org/officeDocument/2006/relationships/package" Target="../embeddings/Microsoft_Excel_Worksheet1563.xlsx"/></Relationships>
</file>

<file path=ppt/charts/_rels/chart1565.xml.rels><?xml version='1.0' encoding='UTF-8' standalone='yes'?>
<Relationships xmlns="http://schemas.openxmlformats.org/package/2006/relationships"><Relationship Id="rId1" Type="http://schemas.microsoft.com/office/2011/relationships/chartStyle" Target="style1103.xml"/><Relationship Id="rId2" Type="http://schemas.microsoft.com/office/2011/relationships/chartColorStyle" Target="colors1103.xml"/><Relationship Id="rId3" Type="http://schemas.openxmlformats.org/officeDocument/2006/relationships/package" Target="../embeddings/Microsoft_Excel_Worksheet1564.xlsx"/></Relationships>
</file>

<file path=ppt/charts/_rels/chart1566.xml.rels><?xml version='1.0' encoding='UTF-8' standalone='yes'?>
<Relationships xmlns="http://schemas.openxmlformats.org/package/2006/relationships"><Relationship Id="rId1" Type="http://schemas.microsoft.com/office/2011/relationships/chartStyle" Target="style1104.xml"/><Relationship Id="rId2" Type="http://schemas.microsoft.com/office/2011/relationships/chartColorStyle" Target="colors1104.xml"/><Relationship Id="rId3" Type="http://schemas.openxmlformats.org/officeDocument/2006/relationships/package" Target="../embeddings/Microsoft_Excel_Worksheet1565.xlsx"/></Relationships>
</file>

<file path=ppt/charts/_rels/chart1577.xml.rels><?xml version='1.0' encoding='UTF-8' standalone='yes'?>
<Relationships xmlns="http://schemas.openxmlformats.org/package/2006/relationships"><Relationship Id="rId1" Type="http://schemas.microsoft.com/office/2011/relationships/chartStyle" Target="style1115.xml"/><Relationship Id="rId2" Type="http://schemas.microsoft.com/office/2011/relationships/chartColorStyle" Target="colors1115.xml"/><Relationship Id="rId3"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microsoft.com/office/2011/relationships/chartStyle" Target="style1116.xml"/><Relationship Id="rId2" Type="http://schemas.microsoft.com/office/2011/relationships/chartColorStyle" Target="colors1116.xml"/><Relationship Id="rId3" Type="http://schemas.openxmlformats.org/officeDocument/2006/relationships/package" Target="../embeddings/Microsoft_Excel_Worksheet1577.xlsx"/></Relationships>
</file>

<file path=ppt/charts/_rels/chart1579.xml.rels><?xml version='1.0' encoding='UTF-8' standalone='yes'?>
<Relationships xmlns="http://schemas.openxmlformats.org/package/2006/relationships"><Relationship Id="rId1" Type="http://schemas.microsoft.com/office/2011/relationships/chartStyle" Target="style1117.xml"/><Relationship Id="rId2" Type="http://schemas.microsoft.com/office/2011/relationships/chartColorStyle" Target="colors1117.xml"/><Relationship Id="rId3" Type="http://schemas.openxmlformats.org/officeDocument/2006/relationships/package" Target="../embeddings/Microsoft_Excel_Worksheet1578.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80.xml.rels><?xml version='1.0' encoding='UTF-8' standalone='yes'?>
<Relationships xmlns="http://schemas.openxmlformats.org/package/2006/relationships"><Relationship Id="rId1" Type="http://schemas.microsoft.com/office/2011/relationships/chartStyle" Target="style1118.xml"/><Relationship Id="rId2" Type="http://schemas.microsoft.com/office/2011/relationships/chartColorStyle" Target="colors1118.xml"/><Relationship Id="rId3" Type="http://schemas.openxmlformats.org/officeDocument/2006/relationships/package" Target="../embeddings/Microsoft_Excel_Worksheet1579.xlsx"/></Relationships>
</file>

<file path=ppt/charts/_rels/chart1585.xml.rels><?xml version='1.0' encoding='UTF-8' standalone='yes'?>
<Relationships xmlns="http://schemas.openxmlformats.org/package/2006/relationships"><Relationship Id="rId1" Type="http://schemas.microsoft.com/office/2011/relationships/chartStyle" Target="style1123.xml"/><Relationship Id="rId2" Type="http://schemas.microsoft.com/office/2011/relationships/chartColorStyle" Target="colors1123.xml"/><Relationship Id="rId3" Type="http://schemas.openxmlformats.org/officeDocument/2006/relationships/package" Target="../embeddings/Microsoft_Excel_Worksheet1584.xlsx"/></Relationships>
</file>

<file path=ppt/charts/_rels/chart1586.xml.rels><?xml version='1.0' encoding='UTF-8' standalone='yes'?>
<Relationships xmlns="http://schemas.openxmlformats.org/package/2006/relationships"><Relationship Id="rId1" Type="http://schemas.microsoft.com/office/2011/relationships/chartStyle" Target="style1124.xml"/><Relationship Id="rId2" Type="http://schemas.microsoft.com/office/2011/relationships/chartColorStyle" Target="colors1124.xml"/><Relationship Id="rId3" Type="http://schemas.openxmlformats.org/officeDocument/2006/relationships/package" Target="../embeddings/Microsoft_Excel_Worksheet1585.xlsx"/></Relationships>
</file>

<file path=ppt/charts/_rels/chart1589.xml.rels><?xml version='1.0' encoding='UTF-8' standalone='yes'?>
<Relationships xmlns="http://schemas.openxmlformats.org/package/2006/relationships"><Relationship Id="rId1" Type="http://schemas.microsoft.com/office/2011/relationships/chartStyle" Target="style1127.xml"/><Relationship Id="rId2" Type="http://schemas.microsoft.com/office/2011/relationships/chartColorStyle" Target="colors1127.xml"/><Relationship Id="rId3" Type="http://schemas.openxmlformats.org/officeDocument/2006/relationships/package" Target="../embeddings/Microsoft_Excel_Worksheet1588.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590.xml.rels><?xml version='1.0' encoding='UTF-8' standalone='yes'?>
<Relationships xmlns="http://schemas.openxmlformats.org/package/2006/relationships"><Relationship Id="rId1" Type="http://schemas.microsoft.com/office/2011/relationships/chartStyle" Target="style1128.xml"/><Relationship Id="rId2" Type="http://schemas.microsoft.com/office/2011/relationships/chartColorStyle" Target="colors1128.xml"/><Relationship Id="rId3" Type="http://schemas.openxmlformats.org/officeDocument/2006/relationships/package" Target="../embeddings/Microsoft_Excel_Worksheet1589.xlsx"/></Relationships>
</file>

<file path=ppt/charts/_rels/chart1591.xml.rels><?xml version='1.0' encoding='UTF-8' standalone='yes'?>
<Relationships xmlns="http://schemas.openxmlformats.org/package/2006/relationships"><Relationship Id="rId1" Type="http://schemas.microsoft.com/office/2011/relationships/chartStyle" Target="style1129.xml"/><Relationship Id="rId2" Type="http://schemas.microsoft.com/office/2011/relationships/chartColorStyle" Target="colors1129.xml"/><Relationship Id="rId3" Type="http://schemas.openxmlformats.org/officeDocument/2006/relationships/package" Target="../embeddings/Microsoft_Excel_Worksheet1590.xlsx"/></Relationships>
</file>

<file path=ppt/charts/_rels/chart1592.xml.rels><?xml version='1.0' encoding='UTF-8' standalone='yes'?>
<Relationships xmlns="http://schemas.openxmlformats.org/package/2006/relationships"><Relationship Id="rId1" Type="http://schemas.microsoft.com/office/2011/relationships/chartStyle" Target="style1130.xml"/><Relationship Id="rId2" Type="http://schemas.microsoft.com/office/2011/relationships/chartColorStyle" Target="colors1130.xml"/><Relationship Id="rId3" Type="http://schemas.openxmlformats.org/officeDocument/2006/relationships/package" Target="../embeddings/Microsoft_Excel_Worksheet1591.xlsx"/></Relationships>
</file>

<file path=ppt/charts/_rels/chart1593.xml.rels><?xml version='1.0' encoding='UTF-8' standalone='yes'?>
<Relationships xmlns="http://schemas.openxmlformats.org/package/2006/relationships"><Relationship Id="rId1" Type="http://schemas.microsoft.com/office/2011/relationships/chartStyle" Target="style1131.xml"/><Relationship Id="rId2" Type="http://schemas.microsoft.com/office/2011/relationships/chartColorStyle" Target="colors1131.xml"/><Relationship Id="rId3"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microsoft.com/office/2011/relationships/chartStyle" Target="style1132.xml"/><Relationship Id="rId2" Type="http://schemas.microsoft.com/office/2011/relationships/chartColorStyle" Target="colors1132.xml"/><Relationship Id="rId3" Type="http://schemas.openxmlformats.org/officeDocument/2006/relationships/package" Target="../embeddings/Microsoft_Excel_Worksheet1593.xlsx"/></Relationships>
</file>

<file path=ppt/charts/_rels/chart1599.xml.rels><?xml version='1.0' encoding='UTF-8' standalone='yes'?>
<Relationships xmlns="http://schemas.openxmlformats.org/package/2006/relationships"><Relationship Id="rId1" Type="http://schemas.microsoft.com/office/2011/relationships/chartStyle" Target="style1137.xml"/><Relationship Id="rId2" Type="http://schemas.microsoft.com/office/2011/relationships/chartColorStyle" Target="colors1137.xml"/><Relationship Id="rId3"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0.xml.rels><?xml version='1.0' encoding='UTF-8' standalone='yes'?>
<Relationships xmlns="http://schemas.openxmlformats.org/package/2006/relationships"><Relationship Id="rId1" Type="http://schemas.microsoft.com/office/2011/relationships/chartStyle" Target="style1138.xml"/><Relationship Id="rId2" Type="http://schemas.microsoft.com/office/2011/relationships/chartColorStyle" Target="colors1138.xml"/><Relationship Id="rId3" Type="http://schemas.openxmlformats.org/officeDocument/2006/relationships/package" Target="../embeddings/Microsoft_Excel_Worksheet1599.xlsx"/></Relationships>
</file>

<file path=ppt/charts/_rels/chart1607.xml.rels><?xml version='1.0' encoding='UTF-8' standalone='yes'?>
<Relationships xmlns="http://schemas.openxmlformats.org/package/2006/relationships"><Relationship Id="rId1" Type="http://schemas.microsoft.com/office/2011/relationships/chartStyle" Target="style1145.xml"/><Relationship Id="rId2" Type="http://schemas.microsoft.com/office/2011/relationships/chartColorStyle" Target="colors1145.xml"/><Relationship Id="rId3" Type="http://schemas.openxmlformats.org/officeDocument/2006/relationships/package" Target="../embeddings/Microsoft_Excel_Worksheet1606.xlsx"/></Relationships>
</file>

<file path=ppt/charts/_rels/chart1608.xml.rels><?xml version='1.0' encoding='UTF-8' standalone='yes'?>
<Relationships xmlns="http://schemas.openxmlformats.org/package/2006/relationships"><Relationship Id="rId1" Type="http://schemas.microsoft.com/office/2011/relationships/chartStyle" Target="style1146.xml"/><Relationship Id="rId2" Type="http://schemas.microsoft.com/office/2011/relationships/chartColorStyle" Target="colors1146.xml"/><Relationship Id="rId3" Type="http://schemas.openxmlformats.org/officeDocument/2006/relationships/package" Target="../embeddings/Microsoft_Excel_Worksheet1607.xlsx"/></Relationships>
</file>

<file path=ppt/charts/_rels/chart1611.xml.rels><?xml version='1.0' encoding='UTF-8' standalone='yes'?>
<Relationships xmlns="http://schemas.openxmlformats.org/package/2006/relationships"><Relationship Id="rId1" Type="http://schemas.microsoft.com/office/2011/relationships/chartStyle" Target="style1149.xml"/><Relationship Id="rId2" Type="http://schemas.microsoft.com/office/2011/relationships/chartColorStyle" Target="colors1149.xml"/><Relationship Id="rId3" Type="http://schemas.openxmlformats.org/officeDocument/2006/relationships/package" Target="../embeddings/Microsoft_Excel_Worksheet1610.xlsx"/></Relationships>
</file>

<file path=ppt/charts/_rels/chart1612.xml.rels><?xml version='1.0' encoding='UTF-8' standalone='yes'?>
<Relationships xmlns="http://schemas.openxmlformats.org/package/2006/relationships"><Relationship Id="rId1" Type="http://schemas.microsoft.com/office/2011/relationships/chartStyle" Target="style1150.xml"/><Relationship Id="rId2" Type="http://schemas.microsoft.com/office/2011/relationships/chartColorStyle" Target="colors1150.xml"/><Relationship Id="rId3" Type="http://schemas.openxmlformats.org/officeDocument/2006/relationships/package" Target="../embeddings/Microsoft_Excel_Worksheet1611.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21.xml.rels><?xml version='1.0' encoding='UTF-8' standalone='yes'?>
<Relationships xmlns="http://schemas.openxmlformats.org/package/2006/relationships"><Relationship Id="rId1" Type="http://schemas.microsoft.com/office/2011/relationships/chartStyle" Target="style1159.xml"/><Relationship Id="rId2" Type="http://schemas.microsoft.com/office/2011/relationships/chartColorStyle" Target="colors1159.xml"/><Relationship Id="rId3" Type="http://schemas.openxmlformats.org/officeDocument/2006/relationships/package" Target="../embeddings/Microsoft_Excel_Worksheet1620.xlsx"/></Relationships>
</file>

<file path=ppt/charts/_rels/chart1622.xml.rels><?xml version='1.0' encoding='UTF-8' standalone='yes'?>
<Relationships xmlns="http://schemas.openxmlformats.org/package/2006/relationships"><Relationship Id="rId1" Type="http://schemas.microsoft.com/office/2011/relationships/chartStyle" Target="style1160.xml"/><Relationship Id="rId2" Type="http://schemas.microsoft.com/office/2011/relationships/chartColorStyle" Target="colors1160.xml"/><Relationship Id="rId3" Type="http://schemas.openxmlformats.org/officeDocument/2006/relationships/package" Target="../embeddings/Microsoft_Excel_Worksheet1621.xlsx"/></Relationships>
</file>

<file path=ppt/charts/_rels/chart1623.xml.rels><?xml version='1.0' encoding='UTF-8' standalone='yes'?>
<Relationships xmlns="http://schemas.openxmlformats.org/package/2006/relationships"><Relationship Id="rId1" Type="http://schemas.microsoft.com/office/2011/relationships/chartStyle" Target="style1161.xml"/><Relationship Id="rId2" Type="http://schemas.microsoft.com/office/2011/relationships/chartColorStyle" Target="colors1161.xml"/><Relationship Id="rId3" Type="http://schemas.openxmlformats.org/officeDocument/2006/relationships/package" Target="../embeddings/Microsoft_Excel_Worksheet1622.xlsx"/></Relationships>
</file>

<file path=ppt/charts/_rels/chart1624.xml.rels><?xml version='1.0' encoding='UTF-8' standalone='yes'?>
<Relationships xmlns="http://schemas.openxmlformats.org/package/2006/relationships"><Relationship Id="rId1" Type="http://schemas.microsoft.com/office/2011/relationships/chartStyle" Target="style1162.xml"/><Relationship Id="rId2" Type="http://schemas.microsoft.com/office/2011/relationships/chartColorStyle" Target="colors1162.xml"/><Relationship Id="rId3" Type="http://schemas.openxmlformats.org/officeDocument/2006/relationships/package" Target="../embeddings/Microsoft_Excel_Worksheet1623.xlsx"/></Relationships>
</file>

<file path=ppt/charts/_rels/chart1635.xml.rels><?xml version='1.0' encoding='UTF-8' standalone='yes'?>
<Relationships xmlns="http://schemas.openxmlformats.org/package/2006/relationships"><Relationship Id="rId1" Type="http://schemas.microsoft.com/office/2011/relationships/chartStyle" Target="style1173.xml"/><Relationship Id="rId2" Type="http://schemas.microsoft.com/office/2011/relationships/chartColorStyle" Target="colors1173.xml"/><Relationship Id="rId3" Type="http://schemas.openxmlformats.org/officeDocument/2006/relationships/package" Target="../embeddings/Microsoft_Excel_Worksheet1634.xlsx"/></Relationships>
</file>

<file path=ppt/charts/_rels/chart1636.xml.rels><?xml version='1.0' encoding='UTF-8' standalone='yes'?>
<Relationships xmlns="http://schemas.openxmlformats.org/package/2006/relationships"><Relationship Id="rId1" Type="http://schemas.microsoft.com/office/2011/relationships/chartStyle" Target="style1174.xml"/><Relationship Id="rId2" Type="http://schemas.microsoft.com/office/2011/relationships/chartColorStyle" Target="colors1174.xml"/><Relationship Id="rId3" Type="http://schemas.openxmlformats.org/officeDocument/2006/relationships/package" Target="../embeddings/Microsoft_Excel_Worksheet1635.xlsx"/></Relationships>
</file>

<file path=ppt/charts/_rels/chart1637.xml.rels><?xml version='1.0' encoding='UTF-8' standalone='yes'?>
<Relationships xmlns="http://schemas.openxmlformats.org/package/2006/relationships"><Relationship Id="rId1" Type="http://schemas.microsoft.com/office/2011/relationships/chartStyle" Target="style1175.xml"/><Relationship Id="rId2" Type="http://schemas.microsoft.com/office/2011/relationships/chartColorStyle" Target="colors1175.xml"/><Relationship Id="rId3"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microsoft.com/office/2011/relationships/chartStyle" Target="style1176.xml"/><Relationship Id="rId2" Type="http://schemas.microsoft.com/office/2011/relationships/chartColorStyle" Target="colors1176.xml"/><Relationship Id="rId3" Type="http://schemas.openxmlformats.org/officeDocument/2006/relationships/package" Target="../embeddings/Microsoft_Excel_Worksheet1637.xlsx"/></Relationships>
</file>

<file path=ppt/charts/_rels/chart1643.xml.rels><?xml version='1.0' encoding='UTF-8' standalone='yes'?>
<Relationships xmlns="http://schemas.openxmlformats.org/package/2006/relationships"><Relationship Id="rId1" Type="http://schemas.microsoft.com/office/2011/relationships/chartStyle" Target="style1181.xml"/><Relationship Id="rId2" Type="http://schemas.microsoft.com/office/2011/relationships/chartColorStyle" Target="colors1181.xml"/><Relationship Id="rId3" Type="http://schemas.openxmlformats.org/officeDocument/2006/relationships/package" Target="../embeddings/Microsoft_Excel_Worksheet1642.xlsx"/></Relationships>
</file>

<file path=ppt/charts/_rels/chart1644.xml.rels><?xml version='1.0' encoding='UTF-8' standalone='yes'?>
<Relationships xmlns="http://schemas.openxmlformats.org/package/2006/relationships"><Relationship Id="rId1" Type="http://schemas.microsoft.com/office/2011/relationships/chartStyle" Target="style1182.xml"/><Relationship Id="rId2" Type="http://schemas.microsoft.com/office/2011/relationships/chartColorStyle" Target="colors1182.xml"/><Relationship Id="rId3" Type="http://schemas.openxmlformats.org/officeDocument/2006/relationships/package" Target="../embeddings/Microsoft_Excel_Worksheet1643.xlsx"/></Relationships>
</file>

<file path=ppt/charts/_rels/chart1649.xml.rels><?xml version='1.0' encoding='UTF-8' standalone='yes'?>
<Relationships xmlns="http://schemas.openxmlformats.org/package/2006/relationships"><Relationship Id="rId1" Type="http://schemas.microsoft.com/office/2011/relationships/chartStyle" Target="style1187.xml"/><Relationship Id="rId2" Type="http://schemas.microsoft.com/office/2011/relationships/chartColorStyle" Target="colors1187.xml"/><Relationship Id="rId3" Type="http://schemas.openxmlformats.org/officeDocument/2006/relationships/package" Target="../embeddings/Microsoft_Excel_Worksheet1648.xlsx"/></Relationships>
</file>

<file path=ppt/charts/_rels/chart1650.xml.rels><?xml version='1.0' encoding='UTF-8' standalone='yes'?>
<Relationships xmlns="http://schemas.openxmlformats.org/package/2006/relationships"><Relationship Id="rId1" Type="http://schemas.microsoft.com/office/2011/relationships/chartStyle" Target="style1188.xml"/><Relationship Id="rId2" Type="http://schemas.microsoft.com/office/2011/relationships/chartColorStyle" Target="colors1188.xml"/><Relationship Id="rId3" Type="http://schemas.openxmlformats.org/officeDocument/2006/relationships/package" Target="../embeddings/Microsoft_Excel_Worksheet1649.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5.xml.rels><?xml version='1.0' encoding='UTF-8' standalone='yes'?>
<Relationships xmlns="http://schemas.openxmlformats.org/package/2006/relationships"><Relationship Id="rId1" Type="http://schemas.microsoft.com/office/2011/relationships/chartStyle" Target="style1203.xml"/><Relationship Id="rId2" Type="http://schemas.microsoft.com/office/2011/relationships/chartColorStyle" Target="colors1203.xml"/><Relationship Id="rId3" Type="http://schemas.openxmlformats.org/officeDocument/2006/relationships/package" Target="../embeddings/Microsoft_Excel_Worksheet1664.xlsx"/></Relationships>
</file>

<file path=ppt/charts/_rels/chart1666.xml.rels><?xml version='1.0' encoding='UTF-8' standalone='yes'?>
<Relationships xmlns="http://schemas.openxmlformats.org/package/2006/relationships"><Relationship Id="rId1" Type="http://schemas.microsoft.com/office/2011/relationships/chartStyle" Target="style1204.xml"/><Relationship Id="rId2" Type="http://schemas.microsoft.com/office/2011/relationships/chartColorStyle" Target="colors1204.xml"/><Relationship Id="rId3" Type="http://schemas.openxmlformats.org/officeDocument/2006/relationships/package" Target="../embeddings/Microsoft_Excel_Worksheet1665.xlsx"/></Relationships>
</file>

<file path=ppt/charts/_rels/chart1667.xml.rels><?xml version='1.0' encoding='UTF-8' standalone='yes'?>
<Relationships xmlns="http://schemas.openxmlformats.org/package/2006/relationships"><Relationship Id="rId1" Type="http://schemas.microsoft.com/office/2011/relationships/chartStyle" Target="style1205.xml"/><Relationship Id="rId2" Type="http://schemas.microsoft.com/office/2011/relationships/chartColorStyle" Target="colors1205.xml"/><Relationship Id="rId3" Type="http://schemas.openxmlformats.org/officeDocument/2006/relationships/package" Target="../embeddings/Microsoft_Excel_Worksheet1666.xlsx"/></Relationships>
</file>

<file path=ppt/charts/_rels/chart1668.xml.rels><?xml version='1.0' encoding='UTF-8' standalone='yes'?>
<Relationships xmlns="http://schemas.openxmlformats.org/package/2006/relationships"><Relationship Id="rId1" Type="http://schemas.microsoft.com/office/2011/relationships/chartStyle" Target="style1206.xml"/><Relationship Id="rId2" Type="http://schemas.microsoft.com/office/2011/relationships/chartColorStyle" Target="colors1206.xml"/><Relationship Id="rId3" Type="http://schemas.openxmlformats.org/officeDocument/2006/relationships/package" Target="../embeddings/Microsoft_Excel_Worksheet1667.xlsx"/></Relationships>
</file>

<file path=ppt/charts/_rels/chart1669.xml.rels><?xml version='1.0' encoding='UTF-8' standalone='yes'?>
<Relationships xmlns="http://schemas.openxmlformats.org/package/2006/relationships"><Relationship Id="rId1" Type="http://schemas.microsoft.com/office/2011/relationships/chartStyle" Target="style1207.xml"/><Relationship Id="rId2" Type="http://schemas.microsoft.com/office/2011/relationships/chartColorStyle" Target="colors1207.xml"/><Relationship Id="rId3"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microsoft.com/office/2011/relationships/chartStyle" Target="style1208.xml"/><Relationship Id="rId2" Type="http://schemas.microsoft.com/office/2011/relationships/chartColorStyle" Target="colors1208.xml"/><Relationship Id="rId3" Type="http://schemas.openxmlformats.org/officeDocument/2006/relationships/package" Target="../embeddings/Microsoft_Excel_Worksheet1669.xlsx"/></Relationships>
</file>

<file path=ppt/charts/_rels/chart1679.xml.rels><?xml version='1.0' encoding='UTF-8' standalone='yes'?>
<Relationships xmlns="http://schemas.openxmlformats.org/package/2006/relationships"><Relationship Id="rId1" Type="http://schemas.microsoft.com/office/2011/relationships/chartStyle" Target="style1217.xml"/><Relationship Id="rId2" Type="http://schemas.microsoft.com/office/2011/relationships/chartColorStyle" Target="colors1217.xml"/><Relationship Id="rId3" Type="http://schemas.openxmlformats.org/officeDocument/2006/relationships/package" Target="../embeddings/Microsoft_Excel_Worksheet1678.xlsx"/></Relationships>
</file>

<file path=ppt/charts/_rels/chart1680.xml.rels><?xml version='1.0' encoding='UTF-8' standalone='yes'?>
<Relationships xmlns="http://schemas.openxmlformats.org/package/2006/relationships"><Relationship Id="rId1" Type="http://schemas.microsoft.com/office/2011/relationships/chartStyle" Target="style1218.xml"/><Relationship Id="rId2" Type="http://schemas.microsoft.com/office/2011/relationships/chartColorStyle" Target="colors1218.xml"/><Relationship Id="rId3" Type="http://schemas.openxmlformats.org/officeDocument/2006/relationships/package" Target="../embeddings/Microsoft_Excel_Worksheet1679.xlsx"/></Relationships>
</file>

<file path=ppt/charts/_rels/chart1681.xml.rels><?xml version='1.0' encoding='UTF-8' standalone='yes'?>
<Relationships xmlns="http://schemas.openxmlformats.org/package/2006/relationships"><Relationship Id="rId1" Type="http://schemas.microsoft.com/office/2011/relationships/chartStyle" Target="style1219.xml"/><Relationship Id="rId2" Type="http://schemas.microsoft.com/office/2011/relationships/chartColorStyle" Target="colors1219.xml"/><Relationship Id="rId3"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microsoft.com/office/2011/relationships/chartStyle" Target="style1220.xml"/><Relationship Id="rId2" Type="http://schemas.microsoft.com/office/2011/relationships/chartColorStyle" Target="colors1220.xml"/><Relationship Id="rId3" Type="http://schemas.openxmlformats.org/officeDocument/2006/relationships/package" Target="../embeddings/Microsoft_Excel_Worksheet1681.xlsx"/></Relationships>
</file>

<file path=ppt/charts/_rels/chart1687.xml.rels><?xml version='1.0' encoding='UTF-8' standalone='yes'?>
<Relationships xmlns="http://schemas.openxmlformats.org/package/2006/relationships"><Relationship Id="rId1" Type="http://schemas.microsoft.com/office/2011/relationships/chartStyle" Target="style1225.xml"/><Relationship Id="rId2" Type="http://schemas.microsoft.com/office/2011/relationships/chartColorStyle" Target="colors1225.xml"/><Relationship Id="rId3" Type="http://schemas.openxmlformats.org/officeDocument/2006/relationships/package" Target="../embeddings/Microsoft_Excel_Worksheet1686.xlsx"/></Relationships>
</file>

<file path=ppt/charts/_rels/chart1688.xml.rels><?xml version='1.0' encoding='UTF-8' standalone='yes'?>
<Relationships xmlns="http://schemas.openxmlformats.org/package/2006/relationships"><Relationship Id="rId1" Type="http://schemas.microsoft.com/office/2011/relationships/chartStyle" Target="style1226.xml"/><Relationship Id="rId2" Type="http://schemas.microsoft.com/office/2011/relationships/chartColorStyle" Target="colors1226.xml"/><Relationship Id="rId3" Type="http://schemas.openxmlformats.org/officeDocument/2006/relationships/package" Target="../embeddings/Microsoft_Excel_Worksheet1687.xlsx"/></Relationships>
</file>

<file path=ppt/charts/_rels/chart1691.xml.rels><?xml version='1.0' encoding='UTF-8' standalone='yes'?>
<Relationships xmlns="http://schemas.openxmlformats.org/package/2006/relationships"><Relationship Id="rId1" Type="http://schemas.microsoft.com/office/2011/relationships/chartStyle" Target="style1229.xml"/><Relationship Id="rId2" Type="http://schemas.microsoft.com/office/2011/relationships/chartColorStyle" Target="colors1229.xml"/><Relationship Id="rId3" Type="http://schemas.openxmlformats.org/officeDocument/2006/relationships/package" Target="../embeddings/Microsoft_Excel_Worksheet1690.xlsx"/></Relationships>
</file>

<file path=ppt/charts/_rels/chart1692.xml.rels><?xml version='1.0' encoding='UTF-8' standalone='yes'?>
<Relationships xmlns="http://schemas.openxmlformats.org/package/2006/relationships"><Relationship Id="rId1" Type="http://schemas.microsoft.com/office/2011/relationships/chartStyle" Target="style1230.xml"/><Relationship Id="rId2" Type="http://schemas.microsoft.com/office/2011/relationships/chartColorStyle" Target="colors1230.xml"/><Relationship Id="rId3" Type="http://schemas.openxmlformats.org/officeDocument/2006/relationships/package" Target="../embeddings/Microsoft_Excel_Worksheet1691.xlsx"/></Relationships>
</file>

<file path=ppt/charts/_rels/chart1693.xml.rels><?xml version='1.0' encoding='UTF-8' standalone='yes'?>
<Relationships xmlns="http://schemas.openxmlformats.org/package/2006/relationships"><Relationship Id="rId1" Type="http://schemas.microsoft.com/office/2011/relationships/chartStyle" Target="style1231.xml"/><Relationship Id="rId2" Type="http://schemas.microsoft.com/office/2011/relationships/chartColorStyle" Target="colors1231.xml"/><Relationship Id="rId3" Type="http://schemas.openxmlformats.org/officeDocument/2006/relationships/package" Target="../embeddings/Microsoft_Excel_Worksheet1692.xlsx"/></Relationships>
</file>

<file path=ppt/charts/_rels/chart1694.xml.rels><?xml version='1.0' encoding='UTF-8' standalone='yes'?>
<Relationships xmlns="http://schemas.openxmlformats.org/package/2006/relationships"><Relationship Id="rId1" Type="http://schemas.microsoft.com/office/2011/relationships/chartStyle" Target="style1232.xml"/><Relationship Id="rId2" Type="http://schemas.microsoft.com/office/2011/relationships/chartColorStyle" Target="colors1232.xml"/><Relationship Id="rId3" Type="http://schemas.openxmlformats.org/officeDocument/2006/relationships/package" Target="../embeddings/Microsoft_Excel_Worksheet169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3.xml.rels><?xml version='1.0' encoding='UTF-8' standalone='yes'?>
<Relationships xmlns="http://schemas.openxmlformats.org/package/2006/relationships"><Relationship Id="rId1" Type="http://schemas.microsoft.com/office/2011/relationships/chartStyle" Target="style1251.xml"/><Relationship Id="rId2" Type="http://schemas.microsoft.com/office/2011/relationships/chartColorStyle" Target="colors1251.xml"/><Relationship Id="rId3" Type="http://schemas.openxmlformats.org/officeDocument/2006/relationships/package" Target="../embeddings/Microsoft_Excel_Worksheet1712.xlsx"/></Relationships>
</file>

<file path=ppt/charts/_rels/chart1714.xml.rels><?xml version='1.0' encoding='UTF-8' standalone='yes'?>
<Relationships xmlns="http://schemas.openxmlformats.org/package/2006/relationships"><Relationship Id="rId1" Type="http://schemas.microsoft.com/office/2011/relationships/chartStyle" Target="style1252.xml"/><Relationship Id="rId2" Type="http://schemas.microsoft.com/office/2011/relationships/chartColorStyle" Target="colors1252.xml"/><Relationship Id="rId3" Type="http://schemas.openxmlformats.org/officeDocument/2006/relationships/package" Target="../embeddings/Microsoft_Excel_Worksheet1713.xlsx"/></Relationships>
</file>

<file path=ppt/charts/_rels/chart1723.xml.rels><?xml version='1.0' encoding='UTF-8' standalone='yes'?>
<Relationships xmlns="http://schemas.openxmlformats.org/package/2006/relationships"><Relationship Id="rId1" Type="http://schemas.microsoft.com/office/2011/relationships/chartStyle" Target="style1261.xml"/><Relationship Id="rId2" Type="http://schemas.microsoft.com/office/2011/relationships/chartColorStyle" Target="colors1261.xml"/><Relationship Id="rId3" Type="http://schemas.openxmlformats.org/officeDocument/2006/relationships/package" Target="../embeddings/Microsoft_Excel_Worksheet1722.xlsx"/></Relationships>
</file>

<file path=ppt/charts/_rels/chart1724.xml.rels><?xml version='1.0' encoding='UTF-8' standalone='yes'?>
<Relationships xmlns="http://schemas.openxmlformats.org/package/2006/relationships"><Relationship Id="rId1" Type="http://schemas.microsoft.com/office/2011/relationships/chartStyle" Target="style1262.xml"/><Relationship Id="rId2" Type="http://schemas.microsoft.com/office/2011/relationships/chartColorStyle" Target="colors1262.xml"/><Relationship Id="rId3" Type="http://schemas.openxmlformats.org/officeDocument/2006/relationships/package" Target="../embeddings/Microsoft_Excel_Worksheet1723.xlsx"/></Relationships>
</file>

<file path=ppt/charts/_rels/chart1725.xml.rels><?xml version='1.0' encoding='UTF-8' standalone='yes'?>
<Relationships xmlns="http://schemas.openxmlformats.org/package/2006/relationships"><Relationship Id="rId1" Type="http://schemas.microsoft.com/office/2011/relationships/chartStyle" Target="style1263.xml"/><Relationship Id="rId2" Type="http://schemas.microsoft.com/office/2011/relationships/chartColorStyle" Target="colors1263.xml"/><Relationship Id="rId3"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microsoft.com/office/2011/relationships/chartStyle" Target="style1264.xml"/><Relationship Id="rId2" Type="http://schemas.microsoft.com/office/2011/relationships/chartColorStyle" Target="colors1264.xml"/><Relationship Id="rId3" Type="http://schemas.openxmlformats.org/officeDocument/2006/relationships/package" Target="../embeddings/Microsoft_Excel_Worksheet1725.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33.xml.rels><?xml version='1.0' encoding='UTF-8' standalone='yes'?>
<Relationships xmlns="http://schemas.openxmlformats.org/package/2006/relationships"><Relationship Id="rId1" Type="http://schemas.microsoft.com/office/2011/relationships/chartStyle" Target="style1271.xml"/><Relationship Id="rId2" Type="http://schemas.microsoft.com/office/2011/relationships/chartColorStyle" Target="colors1271.xml"/><Relationship Id="rId3" Type="http://schemas.openxmlformats.org/officeDocument/2006/relationships/package" Target="../embeddings/Microsoft_Excel_Worksheet1732.xlsx"/></Relationships>
</file>

<file path=ppt/charts/_rels/chart1734.xml.rels><?xml version='1.0' encoding='UTF-8' standalone='yes'?>
<Relationships xmlns="http://schemas.openxmlformats.org/package/2006/relationships"><Relationship Id="rId1" Type="http://schemas.microsoft.com/office/2011/relationships/chartStyle" Target="style1272.xml"/><Relationship Id="rId2" Type="http://schemas.microsoft.com/office/2011/relationships/chartColorStyle" Target="colors1272.xml"/><Relationship Id="rId3" Type="http://schemas.openxmlformats.org/officeDocument/2006/relationships/package" Target="../embeddings/Microsoft_Excel_Worksheet1733.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41.xml.rels><?xml version='1.0' encoding='UTF-8' standalone='yes'?>
<Relationships xmlns="http://schemas.openxmlformats.org/package/2006/relationships"><Relationship Id="rId1" Type="http://schemas.microsoft.com/office/2011/relationships/chartStyle" Target="style1279.xml"/><Relationship Id="rId2" Type="http://schemas.microsoft.com/office/2011/relationships/chartColorStyle" Target="colors1279.xml"/><Relationship Id="rId3"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microsoft.com/office/2011/relationships/chartStyle" Target="style1280.xml"/><Relationship Id="rId2" Type="http://schemas.microsoft.com/office/2011/relationships/chartColorStyle" Target="colors1280.xml"/><Relationship Id="rId3" Type="http://schemas.openxmlformats.org/officeDocument/2006/relationships/package" Target="../embeddings/Microsoft_Excel_Worksheet1741.xlsx"/></Relationships>
</file>

<file path=ppt/charts/_rels/chart1743.xml.rels><?xml version='1.0' encoding='UTF-8' standalone='yes'?>
<Relationships xmlns="http://schemas.openxmlformats.org/package/2006/relationships"><Relationship Id="rId1" Type="http://schemas.microsoft.com/office/2011/relationships/chartStyle" Target="style1281.xml"/><Relationship Id="rId2" Type="http://schemas.microsoft.com/office/2011/relationships/chartColorStyle" Target="colors1281.xml"/><Relationship Id="rId3" Type="http://schemas.openxmlformats.org/officeDocument/2006/relationships/package" Target="../embeddings/Microsoft_Excel_Worksheet1742.xlsx"/></Relationships>
</file>

<file path=ppt/charts/_rels/chart1744.xml.rels><?xml version='1.0' encoding='UTF-8' standalone='yes'?>
<Relationships xmlns="http://schemas.openxmlformats.org/package/2006/relationships"><Relationship Id="rId1" Type="http://schemas.microsoft.com/office/2011/relationships/chartStyle" Target="style1282.xml"/><Relationship Id="rId2" Type="http://schemas.microsoft.com/office/2011/relationships/chartColorStyle" Target="colors1282.xml"/><Relationship Id="rId3" Type="http://schemas.openxmlformats.org/officeDocument/2006/relationships/package" Target="../embeddings/Microsoft_Excel_Worksheet1743.xlsx"/></Relationships>
</file>

<file path=ppt/charts/_rels/chart1755.xml.rels><?xml version='1.0' encoding='UTF-8' standalone='yes'?>
<Relationships xmlns="http://schemas.openxmlformats.org/package/2006/relationships"><Relationship Id="rId1" Type="http://schemas.microsoft.com/office/2011/relationships/chartStyle" Target="style1293.xml"/><Relationship Id="rId2" Type="http://schemas.microsoft.com/office/2011/relationships/chartColorStyle" Target="colors1293.xml"/><Relationship Id="rId3"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microsoft.com/office/2011/relationships/chartStyle" Target="style1294.xml"/><Relationship Id="rId2" Type="http://schemas.microsoft.com/office/2011/relationships/chartColorStyle" Target="colors1294.xml"/><Relationship Id="rId3"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microsoft.com/office/2011/relationships/chartStyle" Target="style1295.xml"/><Relationship Id="rId2" Type="http://schemas.microsoft.com/office/2011/relationships/chartColorStyle" Target="colors1295.xml"/><Relationship Id="rId3" Type="http://schemas.openxmlformats.org/officeDocument/2006/relationships/package" Target="../embeddings/Microsoft_Excel_Worksheet1756.xlsx"/></Relationships>
</file>

<file path=ppt/charts/_rels/chart1758.xml.rels><?xml version='1.0' encoding='UTF-8' standalone='yes'?>
<Relationships xmlns="http://schemas.openxmlformats.org/package/2006/relationships"><Relationship Id="rId1" Type="http://schemas.microsoft.com/office/2011/relationships/chartStyle" Target="style1296.xml"/><Relationship Id="rId2" Type="http://schemas.microsoft.com/office/2011/relationships/chartColorStyle" Target="colors1296.xml"/><Relationship Id="rId3" Type="http://schemas.openxmlformats.org/officeDocument/2006/relationships/package" Target="../embeddings/Microsoft_Excel_Worksheet1757.xlsx"/></Relationships>
</file>

<file path=ppt/charts/_rels/chart1763.xml.rels><?xml version='1.0' encoding='UTF-8' standalone='yes'?>
<Relationships xmlns="http://schemas.openxmlformats.org/package/2006/relationships"><Relationship Id="rId1" Type="http://schemas.microsoft.com/office/2011/relationships/chartStyle" Target="style1301.xml"/><Relationship Id="rId2" Type="http://schemas.microsoft.com/office/2011/relationships/chartColorStyle" Target="colors1301.xml"/><Relationship Id="rId3" Type="http://schemas.openxmlformats.org/officeDocument/2006/relationships/package" Target="../embeddings/Microsoft_Excel_Worksheet1762.xlsx"/></Relationships>
</file>

<file path=ppt/charts/_rels/chart1764.xml.rels><?xml version='1.0' encoding='UTF-8' standalone='yes'?>
<Relationships xmlns="http://schemas.openxmlformats.org/package/2006/relationships"><Relationship Id="rId1" Type="http://schemas.microsoft.com/office/2011/relationships/chartStyle" Target="style1302.xml"/><Relationship Id="rId2" Type="http://schemas.microsoft.com/office/2011/relationships/chartColorStyle" Target="colors1302.xml"/><Relationship Id="rId3" Type="http://schemas.openxmlformats.org/officeDocument/2006/relationships/package" Target="../embeddings/Microsoft_Excel_Worksheet1763.xlsx"/></Relationships>
</file>

<file path=ppt/charts/_rels/chart1769.xml.rels><?xml version='1.0' encoding='UTF-8' standalone='yes'?>
<Relationships xmlns="http://schemas.openxmlformats.org/package/2006/relationships"><Relationship Id="rId1" Type="http://schemas.microsoft.com/office/2011/relationships/chartStyle" Target="style1307.xml"/><Relationship Id="rId2" Type="http://schemas.microsoft.com/office/2011/relationships/chartColorStyle" Target="colors1307.xml"/><Relationship Id="rId3" Type="http://schemas.openxmlformats.org/officeDocument/2006/relationships/package" Target="../embeddings/Microsoft_Excel_Worksheet1768.xlsx"/></Relationships>
</file>

<file path=ppt/charts/_rels/chart1770.xml.rels><?xml version='1.0' encoding='UTF-8' standalone='yes'?>
<Relationships xmlns="http://schemas.openxmlformats.org/package/2006/relationships"><Relationship Id="rId1" Type="http://schemas.microsoft.com/office/2011/relationships/chartStyle" Target="style1308.xml"/><Relationship Id="rId2" Type="http://schemas.microsoft.com/office/2011/relationships/chartColorStyle" Target="colors1308.xml"/><Relationship Id="rId3" Type="http://schemas.openxmlformats.org/officeDocument/2006/relationships/package" Target="../embeddings/Microsoft_Excel_Worksheet1769.xlsx"/></Relationships>
</file>

<file path=ppt/charts/_rels/chart1771.xml.rels><?xml version='1.0' encoding='UTF-8' standalone='yes'?>
<Relationships xmlns="http://schemas.openxmlformats.org/package/2006/relationships"><Relationship Id="rId1" Type="http://schemas.microsoft.com/office/2011/relationships/chartStyle" Target="style1309.xml"/><Relationship Id="rId2" Type="http://schemas.microsoft.com/office/2011/relationships/chartColorStyle" Target="colors1309.xml"/><Relationship Id="rId3" Type="http://schemas.openxmlformats.org/officeDocument/2006/relationships/package" Target="../embeddings/Microsoft_Excel_Worksheet1770.xlsx"/></Relationships>
</file>

<file path=ppt/charts/_rels/chart1772.xml.rels><?xml version='1.0' encoding='UTF-8' standalone='yes'?>
<Relationships xmlns="http://schemas.openxmlformats.org/package/2006/relationships"><Relationship Id="rId1" Type="http://schemas.microsoft.com/office/2011/relationships/chartStyle" Target="style1310.xml"/><Relationship Id="rId2" Type="http://schemas.microsoft.com/office/2011/relationships/chartColorStyle" Target="colors1310.xml"/><Relationship Id="rId3" Type="http://schemas.openxmlformats.org/officeDocument/2006/relationships/package" Target="../embeddings/Microsoft_Excel_Worksheet1771.xlsx"/></Relationships>
</file>

<file path=ppt/charts/_rels/chart1777.xml.rels><?xml version='1.0' encoding='UTF-8' standalone='yes'?>
<Relationships xmlns="http://schemas.openxmlformats.org/package/2006/relationships"><Relationship Id="rId1" Type="http://schemas.microsoft.com/office/2011/relationships/chartStyle" Target="style1315.xml"/><Relationship Id="rId2" Type="http://schemas.microsoft.com/office/2011/relationships/chartColorStyle" Target="colors1315.xml"/><Relationship Id="rId3" Type="http://schemas.openxmlformats.org/officeDocument/2006/relationships/package" Target="../embeddings/Microsoft_Excel_Worksheet1776.xlsx"/></Relationships>
</file>

<file path=ppt/charts/_rels/chart1778.xml.rels><?xml version='1.0' encoding='UTF-8' standalone='yes'?>
<Relationships xmlns="http://schemas.openxmlformats.org/package/2006/relationships"><Relationship Id="rId1" Type="http://schemas.microsoft.com/office/2011/relationships/chartStyle" Target="style1316.xml"/><Relationship Id="rId2" Type="http://schemas.microsoft.com/office/2011/relationships/chartColorStyle" Target="colors1316.xml"/><Relationship Id="rId3" Type="http://schemas.openxmlformats.org/officeDocument/2006/relationships/package" Target="../embeddings/Microsoft_Excel_Worksheet1777.xlsx"/></Relationships>
</file>

<file path=ppt/charts/_rels/chart1785.xml.rels><?xml version='1.0' encoding='UTF-8' standalone='yes'?>
<Relationships xmlns="http://schemas.openxmlformats.org/package/2006/relationships"><Relationship Id="rId1" Type="http://schemas.microsoft.com/office/2011/relationships/chartStyle" Target="style1323.xml"/><Relationship Id="rId2" Type="http://schemas.microsoft.com/office/2011/relationships/chartColorStyle" Target="colors1323.xml"/><Relationship Id="rId3"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microsoft.com/office/2011/relationships/chartStyle" Target="style1324.xml"/><Relationship Id="rId2" Type="http://schemas.microsoft.com/office/2011/relationships/chartColorStyle" Target="colors1324.xml"/><Relationship Id="rId3" Type="http://schemas.openxmlformats.org/officeDocument/2006/relationships/package" Target="../embeddings/Microsoft_Excel_Worksheet1785.xlsx"/></Relationships>
</file>

<file path=ppt/charts/_rels/chart1787.xml.rels><?xml version='1.0' encoding='UTF-8' standalone='yes'?>
<Relationships xmlns="http://schemas.openxmlformats.org/package/2006/relationships"><Relationship Id="rId1" Type="http://schemas.microsoft.com/office/2011/relationships/chartStyle" Target="style1325.xml"/><Relationship Id="rId2" Type="http://schemas.microsoft.com/office/2011/relationships/chartColorStyle" Target="colors1325.xml"/><Relationship Id="rId3" Type="http://schemas.openxmlformats.org/officeDocument/2006/relationships/package" Target="../embeddings/Microsoft_Excel_Worksheet1786.xlsx"/></Relationships>
</file>

<file path=ppt/charts/_rels/chart1788.xml.rels><?xml version='1.0' encoding='UTF-8' standalone='yes'?>
<Relationships xmlns="http://schemas.openxmlformats.org/package/2006/relationships"><Relationship Id="rId1" Type="http://schemas.microsoft.com/office/2011/relationships/chartStyle" Target="style1326.xml"/><Relationship Id="rId2" Type="http://schemas.microsoft.com/office/2011/relationships/chartColorStyle" Target="colors1326.xml"/><Relationship Id="rId3" Type="http://schemas.openxmlformats.org/officeDocument/2006/relationships/package" Target="../embeddings/Microsoft_Excel_Worksheet1787.xlsx"/></Relationships>
</file>

<file path=ppt/charts/_rels/chart1799.xml.rels><?xml version='1.0' encoding='UTF-8' standalone='yes'?>
<Relationships xmlns="http://schemas.openxmlformats.org/package/2006/relationships"><Relationship Id="rId1" Type="http://schemas.microsoft.com/office/2011/relationships/chartStyle" Target="style1337.xml"/><Relationship Id="rId2" Type="http://schemas.microsoft.com/office/2011/relationships/chartColorStyle" Target="colors1337.xml"/><Relationship Id="rId3" Type="http://schemas.openxmlformats.org/officeDocument/2006/relationships/package" Target="../embeddings/Microsoft_Excel_Worksheet1798.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00.xml.rels><?xml version='1.0' encoding='UTF-8' standalone='yes'?>
<Relationships xmlns="http://schemas.openxmlformats.org/package/2006/relationships"><Relationship Id="rId1" Type="http://schemas.microsoft.com/office/2011/relationships/chartStyle" Target="style1338.xml"/><Relationship Id="rId2" Type="http://schemas.microsoft.com/office/2011/relationships/chartColorStyle" Target="colors1338.xml"/><Relationship Id="rId3" Type="http://schemas.openxmlformats.org/officeDocument/2006/relationships/package" Target="../embeddings/Microsoft_Excel_Worksheet1799.xlsx"/></Relationships>
</file>

<file path=ppt/charts/_rels/chart1801.xml.rels><?xml version='1.0' encoding='UTF-8' standalone='yes'?>
<Relationships xmlns="http://schemas.openxmlformats.org/package/2006/relationships"><Relationship Id="rId1" Type="http://schemas.microsoft.com/office/2011/relationships/chartStyle" Target="style1339.xml"/><Relationship Id="rId2" Type="http://schemas.microsoft.com/office/2011/relationships/chartColorStyle" Target="colors1339.xml"/><Relationship Id="rId3" Type="http://schemas.openxmlformats.org/officeDocument/2006/relationships/package" Target="../embeddings/Microsoft_Excel_Worksheet1800.xlsx"/></Relationships>
</file>

<file path=ppt/charts/_rels/chart1802.xml.rels><?xml version='1.0' encoding='UTF-8' standalone='yes'?>
<Relationships xmlns="http://schemas.openxmlformats.org/package/2006/relationships"><Relationship Id="rId1" Type="http://schemas.microsoft.com/office/2011/relationships/chartStyle" Target="style1340.xml"/><Relationship Id="rId2" Type="http://schemas.microsoft.com/office/2011/relationships/chartColorStyle" Target="colors1340.xml"/><Relationship Id="rId3" Type="http://schemas.openxmlformats.org/officeDocument/2006/relationships/package" Target="../embeddings/Microsoft_Excel_Worksheet1801.xlsx"/></Relationships>
</file>

<file path=ppt/charts/_rels/chart1807.xml.rels><?xml version='1.0' encoding='UTF-8' standalone='yes'?>
<Relationships xmlns="http://schemas.openxmlformats.org/package/2006/relationships"><Relationship Id="rId1" Type="http://schemas.microsoft.com/office/2011/relationships/chartStyle" Target="style1345.xml"/><Relationship Id="rId2" Type="http://schemas.microsoft.com/office/2011/relationships/chartColorStyle" Target="colors1345.xml"/><Relationship Id="rId3" Type="http://schemas.openxmlformats.org/officeDocument/2006/relationships/package" Target="../embeddings/Microsoft_Excel_Worksheet1806.xlsx"/></Relationships>
</file>

<file path=ppt/charts/_rels/chart1808.xml.rels><?xml version='1.0' encoding='UTF-8' standalone='yes'?>
<Relationships xmlns="http://schemas.openxmlformats.org/package/2006/relationships"><Relationship Id="rId1" Type="http://schemas.microsoft.com/office/2011/relationships/chartStyle" Target="style1346.xml"/><Relationship Id="rId2" Type="http://schemas.microsoft.com/office/2011/relationships/chartColorStyle" Target="colors1346.xml"/><Relationship Id="rId3" Type="http://schemas.openxmlformats.org/officeDocument/2006/relationships/package" Target="../embeddings/Microsoft_Excel_Worksheet1807.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13.xml.rels><?xml version='1.0' encoding='UTF-8' standalone='yes'?>
<Relationships xmlns="http://schemas.openxmlformats.org/package/2006/relationships"><Relationship Id="rId1" Type="http://schemas.microsoft.com/office/2011/relationships/chartStyle" Target="style1351.xml"/><Relationship Id="rId2" Type="http://schemas.microsoft.com/office/2011/relationships/chartColorStyle" Target="colors1351.xml"/><Relationship Id="rId3" Type="http://schemas.openxmlformats.org/officeDocument/2006/relationships/package" Target="../embeddings/Microsoft_Excel_Worksheet1812.xlsx"/></Relationships>
</file>

<file path=ppt/charts/_rels/chart1814.xml.rels><?xml version='1.0' encoding='UTF-8' standalone='yes'?>
<Relationships xmlns="http://schemas.openxmlformats.org/package/2006/relationships"><Relationship Id="rId1" Type="http://schemas.microsoft.com/office/2011/relationships/chartStyle" Target="style1352.xml"/><Relationship Id="rId2" Type="http://schemas.microsoft.com/office/2011/relationships/chartColorStyle" Target="colors1352.xml"/><Relationship Id="rId3" Type="http://schemas.openxmlformats.org/officeDocument/2006/relationships/package" Target="../embeddings/Microsoft_Excel_Worksheet1813.xlsx"/></Relationships>
</file>

<file path=ppt/charts/_rels/chart1815.xml.rels><?xml version='1.0' encoding='UTF-8' standalone='yes'?>
<Relationships xmlns="http://schemas.openxmlformats.org/package/2006/relationships"><Relationship Id="rId1" Type="http://schemas.microsoft.com/office/2011/relationships/chartStyle" Target="style1353.xml"/><Relationship Id="rId2" Type="http://schemas.microsoft.com/office/2011/relationships/chartColorStyle" Target="colors1353.xml"/><Relationship Id="rId3" Type="http://schemas.openxmlformats.org/officeDocument/2006/relationships/package" Target="../embeddings/Microsoft_Excel_Worksheet1814.xlsx"/></Relationships>
</file>

<file path=ppt/charts/_rels/chart1816.xml.rels><?xml version='1.0' encoding='UTF-8' standalone='yes'?>
<Relationships xmlns="http://schemas.openxmlformats.org/package/2006/relationships"><Relationship Id="rId1" Type="http://schemas.microsoft.com/office/2011/relationships/chartStyle" Target="style1354.xml"/><Relationship Id="rId2" Type="http://schemas.microsoft.com/office/2011/relationships/chartColorStyle" Target="colors1354.xml"/><Relationship Id="rId3" Type="http://schemas.openxmlformats.org/officeDocument/2006/relationships/package" Target="../embeddings/Microsoft_Excel_Worksheet1815.xlsx"/></Relationships>
</file>

<file path=ppt/charts/_rels/chart1821.xml.rels><?xml version='1.0' encoding='UTF-8' standalone='yes'?>
<Relationships xmlns="http://schemas.openxmlformats.org/package/2006/relationships"><Relationship Id="rId1" Type="http://schemas.microsoft.com/office/2011/relationships/chartStyle" Target="style1359.xml"/><Relationship Id="rId2" Type="http://schemas.microsoft.com/office/2011/relationships/chartColorStyle" Target="colors1359.xml"/><Relationship Id="rId3" Type="http://schemas.openxmlformats.org/officeDocument/2006/relationships/package" Target="../embeddings/Microsoft_Excel_Worksheet1820.xlsx"/></Relationships>
</file>

<file path=ppt/charts/_rels/chart1822.xml.rels><?xml version='1.0' encoding='UTF-8' standalone='yes'?>
<Relationships xmlns="http://schemas.openxmlformats.org/package/2006/relationships"><Relationship Id="rId1" Type="http://schemas.microsoft.com/office/2011/relationships/chartStyle" Target="style1360.xml"/><Relationship Id="rId2" Type="http://schemas.microsoft.com/office/2011/relationships/chartColorStyle" Target="colors1360.xml"/><Relationship Id="rId3" Type="http://schemas.openxmlformats.org/officeDocument/2006/relationships/package" Target="../embeddings/Microsoft_Excel_Worksheet1821.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43.xml.rels><?xml version='1.0' encoding='UTF-8' standalone='yes'?>
<Relationships xmlns="http://schemas.openxmlformats.org/package/2006/relationships"><Relationship Id="rId1" Type="http://schemas.microsoft.com/office/2011/relationships/chartStyle" Target="style1381.xml"/><Relationship Id="rId2" Type="http://schemas.microsoft.com/office/2011/relationships/chartColorStyle" Target="colors1381.xml"/><Relationship Id="rId3" Type="http://schemas.openxmlformats.org/officeDocument/2006/relationships/package" Target="../embeddings/Microsoft_Excel_Worksheet1842.xlsx"/></Relationships>
</file>

<file path=ppt/charts/_rels/chart1844.xml.rels><?xml version='1.0' encoding='UTF-8' standalone='yes'?>
<Relationships xmlns="http://schemas.openxmlformats.org/package/2006/relationships"><Relationship Id="rId1" Type="http://schemas.microsoft.com/office/2011/relationships/chartStyle" Target="style1382.xml"/><Relationship Id="rId2" Type="http://schemas.microsoft.com/office/2011/relationships/chartColorStyle" Target="colors1382.xml"/><Relationship Id="rId3" Type="http://schemas.openxmlformats.org/officeDocument/2006/relationships/package" Target="../embeddings/Microsoft_Excel_Worksheet1843.xlsx"/></Relationships>
</file>

<file path=ppt/charts/_rels/chart1845.xml.rels><?xml version='1.0' encoding='UTF-8' standalone='yes'?>
<Relationships xmlns="http://schemas.openxmlformats.org/package/2006/relationships"><Relationship Id="rId1" Type="http://schemas.microsoft.com/office/2011/relationships/chartStyle" Target="style1383.xml"/><Relationship Id="rId2" Type="http://schemas.microsoft.com/office/2011/relationships/chartColorStyle" Target="colors1383.xml"/><Relationship Id="rId3" Type="http://schemas.openxmlformats.org/officeDocument/2006/relationships/package" Target="../embeddings/Microsoft_Excel_Worksheet1844.xlsx"/></Relationships>
</file>

<file path=ppt/charts/_rels/chart1846.xml.rels><?xml version='1.0' encoding='UTF-8' standalone='yes'?>
<Relationships xmlns="http://schemas.openxmlformats.org/package/2006/relationships"><Relationship Id="rId1" Type="http://schemas.microsoft.com/office/2011/relationships/chartStyle" Target="style1384.xml"/><Relationship Id="rId2" Type="http://schemas.microsoft.com/office/2011/relationships/chartColorStyle" Target="colors1384.xml"/><Relationship Id="rId3" Type="http://schemas.openxmlformats.org/officeDocument/2006/relationships/package" Target="../embeddings/Microsoft_Excel_Worksheet1845.xlsx"/></Relationships>
</file>

<file path=ppt/charts/_rels/chart1857.xml.rels><?xml version='1.0' encoding='UTF-8' standalone='yes'?>
<Relationships xmlns="http://schemas.openxmlformats.org/package/2006/relationships"><Relationship Id="rId1" Type="http://schemas.microsoft.com/office/2011/relationships/chartStyle" Target="style1395.xml"/><Relationship Id="rId2" Type="http://schemas.microsoft.com/office/2011/relationships/chartColorStyle" Target="colors1395.xml"/><Relationship Id="rId3"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microsoft.com/office/2011/relationships/chartStyle" Target="style1396.xml"/><Relationship Id="rId2" Type="http://schemas.microsoft.com/office/2011/relationships/chartColorStyle" Target="colors1396.xml"/><Relationship Id="rId3" Type="http://schemas.openxmlformats.org/officeDocument/2006/relationships/package" Target="../embeddings/Microsoft_Excel_Worksheet1857.xlsx"/></Relationships>
</file>

<file path=ppt/charts/_rels/chart1859.xml.rels><?xml version='1.0' encoding='UTF-8' standalone='yes'?>
<Relationships xmlns="http://schemas.openxmlformats.org/package/2006/relationships"><Relationship Id="rId1" Type="http://schemas.microsoft.com/office/2011/relationships/chartStyle" Target="style1397.xml"/><Relationship Id="rId2" Type="http://schemas.microsoft.com/office/2011/relationships/chartColorStyle" Target="colors1397.xml"/><Relationship Id="rId3" Type="http://schemas.openxmlformats.org/officeDocument/2006/relationships/package" Target="../embeddings/Microsoft_Excel_Worksheet1858.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60.xml.rels><?xml version='1.0' encoding='UTF-8' standalone='yes'?>
<Relationships xmlns="http://schemas.openxmlformats.org/package/2006/relationships"><Relationship Id="rId1" Type="http://schemas.microsoft.com/office/2011/relationships/chartStyle" Target="style1398.xml"/><Relationship Id="rId2" Type="http://schemas.microsoft.com/office/2011/relationships/chartColorStyle" Target="colors1398.xml"/><Relationship Id="rId3" Type="http://schemas.openxmlformats.org/officeDocument/2006/relationships/package" Target="../embeddings/Microsoft_Excel_Worksheet1859.xlsx"/></Relationships>
</file>

<file path=ppt/charts/_rels/chart1865.xml.rels><?xml version='1.0' encoding='UTF-8' standalone='yes'?>
<Relationships xmlns="http://schemas.openxmlformats.org/package/2006/relationships"><Relationship Id="rId1" Type="http://schemas.microsoft.com/office/2011/relationships/chartStyle" Target="style1403.xml"/><Relationship Id="rId2" Type="http://schemas.microsoft.com/office/2011/relationships/chartColorStyle" Target="colors1403.xml"/><Relationship Id="rId3" Type="http://schemas.openxmlformats.org/officeDocument/2006/relationships/package" Target="../embeddings/Microsoft_Excel_Worksheet1864.xlsx"/></Relationships>
</file>

<file path=ppt/charts/_rels/chart1866.xml.rels><?xml version='1.0' encoding='UTF-8' standalone='yes'?>
<Relationships xmlns="http://schemas.openxmlformats.org/package/2006/relationships"><Relationship Id="rId1" Type="http://schemas.microsoft.com/office/2011/relationships/chartStyle" Target="style1404.xml"/><Relationship Id="rId2" Type="http://schemas.microsoft.com/office/2011/relationships/chartColorStyle" Target="colors1404.xml"/><Relationship Id="rId3" Type="http://schemas.openxmlformats.org/officeDocument/2006/relationships/package" Target="../embeddings/Microsoft_Excel_Worksheet1865.xlsx"/></Relationships>
</file>

<file path=ppt/charts/_rels/chart1869.xml.rels><?xml version='1.0' encoding='UTF-8' standalone='yes'?>
<Relationships xmlns="http://schemas.openxmlformats.org/package/2006/relationships"><Relationship Id="rId1" Type="http://schemas.microsoft.com/office/2011/relationships/chartStyle" Target="style1407.xml"/><Relationship Id="rId2" Type="http://schemas.microsoft.com/office/2011/relationships/chartColorStyle" Target="colors1407.xml"/><Relationship Id="rId3" Type="http://schemas.openxmlformats.org/officeDocument/2006/relationships/package" Target="../embeddings/Microsoft_Excel_Worksheet1868.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70.xml.rels><?xml version='1.0' encoding='UTF-8' standalone='yes'?>
<Relationships xmlns="http://schemas.openxmlformats.org/package/2006/relationships"><Relationship Id="rId1" Type="http://schemas.microsoft.com/office/2011/relationships/chartStyle" Target="style1408.xml"/><Relationship Id="rId2" Type="http://schemas.microsoft.com/office/2011/relationships/chartColorStyle" Target="colors1408.xml"/><Relationship Id="rId3" Type="http://schemas.openxmlformats.org/officeDocument/2006/relationships/package" Target="../embeddings/Microsoft_Excel_Worksheet1869.xlsx"/></Relationships>
</file>

<file path=ppt/charts/_rels/chart1871.xml.rels><?xml version='1.0' encoding='UTF-8' standalone='yes'?>
<Relationships xmlns="http://schemas.openxmlformats.org/package/2006/relationships"><Relationship Id="rId1" Type="http://schemas.microsoft.com/office/2011/relationships/chartStyle" Target="style1409.xml"/><Relationship Id="rId2" Type="http://schemas.microsoft.com/office/2011/relationships/chartColorStyle" Target="colors1409.xml"/><Relationship Id="rId3" Type="http://schemas.openxmlformats.org/officeDocument/2006/relationships/package" Target="../embeddings/Microsoft_Excel_Worksheet1870.xlsx"/></Relationships>
</file>

<file path=ppt/charts/_rels/chart1872.xml.rels><?xml version='1.0' encoding='UTF-8' standalone='yes'?>
<Relationships xmlns="http://schemas.openxmlformats.org/package/2006/relationships"><Relationship Id="rId1" Type="http://schemas.microsoft.com/office/2011/relationships/chartStyle" Target="style1410.xml"/><Relationship Id="rId2" Type="http://schemas.microsoft.com/office/2011/relationships/chartColorStyle" Target="colors1410.xml"/><Relationship Id="rId3" Type="http://schemas.openxmlformats.org/officeDocument/2006/relationships/package" Target="../embeddings/Microsoft_Excel_Worksheet1871.xlsx"/></Relationships>
</file>

<file path=ppt/charts/_rels/chart1873.xml.rels><?xml version='1.0' encoding='UTF-8' standalone='yes'?>
<Relationships xmlns="http://schemas.openxmlformats.org/package/2006/relationships"><Relationship Id="rId1" Type="http://schemas.microsoft.com/office/2011/relationships/chartStyle" Target="style1411.xml"/><Relationship Id="rId2" Type="http://schemas.microsoft.com/office/2011/relationships/chartColorStyle" Target="colors1411.xml"/><Relationship Id="rId3"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microsoft.com/office/2011/relationships/chartStyle" Target="style1412.xml"/><Relationship Id="rId2" Type="http://schemas.microsoft.com/office/2011/relationships/chartColorStyle" Target="colors1412.xml"/><Relationship Id="rId3" Type="http://schemas.openxmlformats.org/officeDocument/2006/relationships/package" Target="../embeddings/Microsoft_Excel_Worksheet1873.xlsx"/></Relationships>
</file>

<file path=ppt/charts/_rels/chart1879.xml.rels><?xml version='1.0' encoding='UTF-8' standalone='yes'?>
<Relationships xmlns="http://schemas.openxmlformats.org/package/2006/relationships"><Relationship Id="rId1" Type="http://schemas.microsoft.com/office/2011/relationships/chartStyle" Target="style1417.xml"/><Relationship Id="rId2" Type="http://schemas.microsoft.com/office/2011/relationships/chartColorStyle" Target="colors1417.xml"/><Relationship Id="rId3" Type="http://schemas.openxmlformats.org/officeDocument/2006/relationships/package" Target="../embeddings/Microsoft_Excel_Worksheet1878.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80.xml.rels><?xml version='1.0' encoding='UTF-8' standalone='yes'?>
<Relationships xmlns="http://schemas.openxmlformats.org/package/2006/relationships"><Relationship Id="rId1" Type="http://schemas.microsoft.com/office/2011/relationships/chartStyle" Target="style1418.xml"/><Relationship Id="rId2" Type="http://schemas.microsoft.com/office/2011/relationships/chartColorStyle" Target="colors1418.xml"/><Relationship Id="rId3" Type="http://schemas.openxmlformats.org/officeDocument/2006/relationships/package" Target="../embeddings/Microsoft_Excel_Worksheet1879.xlsx"/></Relationships>
</file>

<file path=ppt/charts/_rels/chart1887.xml.rels><?xml version='1.0' encoding='UTF-8' standalone='yes'?>
<Relationships xmlns="http://schemas.openxmlformats.org/package/2006/relationships"><Relationship Id="rId1" Type="http://schemas.microsoft.com/office/2011/relationships/chartStyle" Target="style1425.xml"/><Relationship Id="rId2" Type="http://schemas.microsoft.com/office/2011/relationships/chartColorStyle" Target="colors1425.xml"/><Relationship Id="rId3" Type="http://schemas.openxmlformats.org/officeDocument/2006/relationships/package" Target="../embeddings/Microsoft_Excel_Worksheet1886.xlsx"/></Relationships>
</file>

<file path=ppt/charts/_rels/chart1888.xml.rels><?xml version='1.0' encoding='UTF-8' standalone='yes'?>
<Relationships xmlns="http://schemas.openxmlformats.org/package/2006/relationships"><Relationship Id="rId1" Type="http://schemas.microsoft.com/office/2011/relationships/chartStyle" Target="style1426.xml"/><Relationship Id="rId2" Type="http://schemas.microsoft.com/office/2011/relationships/chartColorStyle" Target="colors1426.xml"/><Relationship Id="rId3" Type="http://schemas.openxmlformats.org/officeDocument/2006/relationships/package" Target="../embeddings/Microsoft_Excel_Worksheet1887.xlsx"/></Relationships>
</file>

<file path=ppt/charts/_rels/chart1891.xml.rels><?xml version='1.0' encoding='UTF-8' standalone='yes'?>
<Relationships xmlns="http://schemas.openxmlformats.org/package/2006/relationships"><Relationship Id="rId1" Type="http://schemas.microsoft.com/office/2011/relationships/chartStyle" Target="style1429.xml"/><Relationship Id="rId2" Type="http://schemas.microsoft.com/office/2011/relationships/chartColorStyle" Target="colors1429.xml"/><Relationship Id="rId3" Type="http://schemas.openxmlformats.org/officeDocument/2006/relationships/package" Target="../embeddings/Microsoft_Excel_Worksheet1890.xlsx"/></Relationships>
</file>

<file path=ppt/charts/_rels/chart1892.xml.rels><?xml version='1.0' encoding='UTF-8' standalone='yes'?>
<Relationships xmlns="http://schemas.openxmlformats.org/package/2006/relationships"><Relationship Id="rId1" Type="http://schemas.microsoft.com/office/2011/relationships/chartStyle" Target="style1430.xml"/><Relationship Id="rId2" Type="http://schemas.microsoft.com/office/2011/relationships/chartColorStyle" Target="colors1430.xml"/><Relationship Id="rId3" Type="http://schemas.openxmlformats.org/officeDocument/2006/relationships/package" Target="../embeddings/Microsoft_Excel_Worksheet1891.xlsx"/></Relationships>
</file>

<file path=ppt/charts/_rels/chart1901.xml.rels><?xml version='1.0' encoding='UTF-8' standalone='yes'?>
<Relationships xmlns="http://schemas.openxmlformats.org/package/2006/relationships"><Relationship Id="rId1" Type="http://schemas.microsoft.com/office/2011/relationships/chartStyle" Target="style1439.xml"/><Relationship Id="rId2" Type="http://schemas.microsoft.com/office/2011/relationships/chartColorStyle" Target="colors1439.xml"/><Relationship Id="rId3" Type="http://schemas.openxmlformats.org/officeDocument/2006/relationships/package" Target="../embeddings/Microsoft_Excel_Worksheet1900.xlsx"/></Relationships>
</file>

<file path=ppt/charts/_rels/chart1902.xml.rels><?xml version='1.0' encoding='UTF-8' standalone='yes'?>
<Relationships xmlns="http://schemas.openxmlformats.org/package/2006/relationships"><Relationship Id="rId1" Type="http://schemas.microsoft.com/office/2011/relationships/chartStyle" Target="style1440.xml"/><Relationship Id="rId2" Type="http://schemas.microsoft.com/office/2011/relationships/chartColorStyle" Target="colors1440.xml"/><Relationship Id="rId3" Type="http://schemas.openxmlformats.org/officeDocument/2006/relationships/package" Target="../embeddings/Microsoft_Excel_Worksheet1901.xlsx"/></Relationships>
</file>

<file path=ppt/charts/_rels/chart1903.xml.rels><?xml version='1.0' encoding='UTF-8' standalone='yes'?>
<Relationships xmlns="http://schemas.openxmlformats.org/package/2006/relationships"><Relationship Id="rId1" Type="http://schemas.microsoft.com/office/2011/relationships/chartStyle" Target="style1441.xml"/><Relationship Id="rId2" Type="http://schemas.microsoft.com/office/2011/relationships/chartColorStyle" Target="colors1441.xml"/><Relationship Id="rId3" Type="http://schemas.openxmlformats.org/officeDocument/2006/relationships/package" Target="../embeddings/Microsoft_Excel_Worksheet1902.xlsx"/></Relationships>
</file>

<file path=ppt/charts/_rels/chart1904.xml.rels><?xml version='1.0' encoding='UTF-8' standalone='yes'?>
<Relationships xmlns="http://schemas.openxmlformats.org/package/2006/relationships"><Relationship Id="rId1" Type="http://schemas.microsoft.com/office/2011/relationships/chartStyle" Target="style1442.xml"/><Relationship Id="rId2" Type="http://schemas.microsoft.com/office/2011/relationships/chartColorStyle" Target="colors1442.xml"/><Relationship Id="rId3" Type="http://schemas.openxmlformats.org/officeDocument/2006/relationships/package" Target="../embeddings/Microsoft_Excel_Worksheet1903.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15.xml.rels><?xml version='1.0' encoding='UTF-8' standalone='yes'?>
<Relationships xmlns="http://schemas.openxmlformats.org/package/2006/relationships"><Relationship Id="rId1" Type="http://schemas.microsoft.com/office/2011/relationships/chartStyle" Target="style1453.xml"/><Relationship Id="rId2" Type="http://schemas.microsoft.com/office/2011/relationships/chartColorStyle" Target="colors1453.xml"/><Relationship Id="rId3" Type="http://schemas.openxmlformats.org/officeDocument/2006/relationships/package" Target="../embeddings/Microsoft_Excel_Worksheet1914.xlsx"/></Relationships>
</file>

<file path=ppt/charts/_rels/chart1916.xml.rels><?xml version='1.0' encoding='UTF-8' standalone='yes'?>
<Relationships xmlns="http://schemas.openxmlformats.org/package/2006/relationships"><Relationship Id="rId1" Type="http://schemas.microsoft.com/office/2011/relationships/chartStyle" Target="style1454.xml"/><Relationship Id="rId2" Type="http://schemas.microsoft.com/office/2011/relationships/chartColorStyle" Target="colors1454.xml"/><Relationship Id="rId3" Type="http://schemas.openxmlformats.org/officeDocument/2006/relationships/package" Target="../embeddings/Microsoft_Excel_Worksheet1915.xlsx"/></Relationships>
</file>

<file path=ppt/charts/_rels/chart1917.xml.rels><?xml version='1.0' encoding='UTF-8' standalone='yes'?>
<Relationships xmlns="http://schemas.openxmlformats.org/package/2006/relationships"><Relationship Id="rId1" Type="http://schemas.microsoft.com/office/2011/relationships/chartStyle" Target="style1455.xml"/><Relationship Id="rId2" Type="http://schemas.microsoft.com/office/2011/relationships/chartColorStyle" Target="colors1455.xml"/><Relationship Id="rId3"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microsoft.com/office/2011/relationships/chartStyle" Target="style1456.xml"/><Relationship Id="rId2" Type="http://schemas.microsoft.com/office/2011/relationships/chartColorStyle" Target="colors1456.xml"/><Relationship Id="rId3" Type="http://schemas.openxmlformats.org/officeDocument/2006/relationships/package" Target="../embeddings/Microsoft_Excel_Worksheet1917.xlsx"/></Relationships>
</file>

<file path=ppt/charts/_rels/chart1923.xml.rels><?xml version='1.0' encoding='UTF-8' standalone='yes'?>
<Relationships xmlns="http://schemas.openxmlformats.org/package/2006/relationships"><Relationship Id="rId1" Type="http://schemas.microsoft.com/office/2011/relationships/chartStyle" Target="style1461.xml"/><Relationship Id="rId2" Type="http://schemas.microsoft.com/office/2011/relationships/chartColorStyle" Target="colors1461.xml"/><Relationship Id="rId3" Type="http://schemas.openxmlformats.org/officeDocument/2006/relationships/package" Target="../embeddings/Microsoft_Excel_Worksheet1922.xlsx"/></Relationships>
</file>

<file path=ppt/charts/_rels/chart1924.xml.rels><?xml version='1.0' encoding='UTF-8' standalone='yes'?>
<Relationships xmlns="http://schemas.openxmlformats.org/package/2006/relationships"><Relationship Id="rId1" Type="http://schemas.microsoft.com/office/2011/relationships/chartStyle" Target="style1462.xml"/><Relationship Id="rId2" Type="http://schemas.microsoft.com/office/2011/relationships/chartColorStyle" Target="colors1462.xml"/><Relationship Id="rId3" Type="http://schemas.openxmlformats.org/officeDocument/2006/relationships/package" Target="../embeddings/Microsoft_Excel_Worksheet1923.xlsx"/></Relationships>
</file>

<file path=ppt/charts/_rels/chart1933.xml.rels><?xml version='1.0' encoding='UTF-8' standalone='yes'?>
<Relationships xmlns="http://schemas.openxmlformats.org/package/2006/relationships"><Relationship Id="rId1" Type="http://schemas.microsoft.com/office/2011/relationships/chartStyle" Target="style1471.xml"/><Relationship Id="rId2" Type="http://schemas.microsoft.com/office/2011/relationships/chartColorStyle" Target="colors1471.xml"/><Relationship Id="rId3"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microsoft.com/office/2011/relationships/chartStyle" Target="style1472.xml"/><Relationship Id="rId2" Type="http://schemas.microsoft.com/office/2011/relationships/chartColorStyle" Target="colors1472.xml"/><Relationship Id="rId3" Type="http://schemas.openxmlformats.org/officeDocument/2006/relationships/package" Target="../embeddings/Microsoft_Excel_Worksheet1933.xlsx"/></Relationships>
</file>

<file path=ppt/charts/_rels/chart1935.xml.rels><?xml version='1.0' encoding='UTF-8' standalone='yes'?>
<Relationships xmlns="http://schemas.openxmlformats.org/package/2006/relationships"><Relationship Id="rId1" Type="http://schemas.microsoft.com/office/2011/relationships/chartStyle" Target="style1473.xml"/><Relationship Id="rId2" Type="http://schemas.microsoft.com/office/2011/relationships/chartColorStyle" Target="colors1473.xml"/><Relationship Id="rId3" Type="http://schemas.openxmlformats.org/officeDocument/2006/relationships/package" Target="../embeddings/Microsoft_Excel_Worksheet1934.xlsx"/></Relationships>
</file>

<file path=ppt/charts/_rels/chart1936.xml.rels><?xml version='1.0' encoding='UTF-8' standalone='yes'?>
<Relationships xmlns="http://schemas.openxmlformats.org/package/2006/relationships"><Relationship Id="rId1" Type="http://schemas.microsoft.com/office/2011/relationships/chartStyle" Target="style1474.xml"/><Relationship Id="rId2" Type="http://schemas.microsoft.com/office/2011/relationships/chartColorStyle" Target="colors1474.xml"/><Relationship Id="rId3" Type="http://schemas.openxmlformats.org/officeDocument/2006/relationships/package" Target="../embeddings/Microsoft_Excel_Worksheet1935.xlsx"/></Relationships>
</file>

<file path=ppt/charts/_rels/chart1949.xml.rels><?xml version='1.0' encoding='UTF-8' standalone='yes'?>
<Relationships xmlns="http://schemas.openxmlformats.org/package/2006/relationships"><Relationship Id="rId1" Type="http://schemas.microsoft.com/office/2011/relationships/chartStyle" Target="style1487.xml"/><Relationship Id="rId2" Type="http://schemas.microsoft.com/office/2011/relationships/chartColorStyle" Target="colors1487.xml"/><Relationship Id="rId3" Type="http://schemas.openxmlformats.org/officeDocument/2006/relationships/package" Target="../embeddings/Microsoft_Excel_Worksheet1948.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50.xml.rels><?xml version='1.0' encoding='UTF-8' standalone='yes'?>
<Relationships xmlns="http://schemas.openxmlformats.org/package/2006/relationships"><Relationship Id="rId1" Type="http://schemas.microsoft.com/office/2011/relationships/chartStyle" Target="style1488.xml"/><Relationship Id="rId2" Type="http://schemas.microsoft.com/office/2011/relationships/chartColorStyle" Target="colors1488.xml"/><Relationship Id="rId3" Type="http://schemas.openxmlformats.org/officeDocument/2006/relationships/package" Target="../embeddings/Microsoft_Excel_Worksheet1949.xlsx"/></Relationships>
</file>

<file path=ppt/charts/_rels/chart1955.xml.rels><?xml version='1.0' encoding='UTF-8' standalone='yes'?>
<Relationships xmlns="http://schemas.openxmlformats.org/package/2006/relationships"><Relationship Id="rId1" Type="http://schemas.microsoft.com/office/2011/relationships/chartStyle" Target="style1493.xml"/><Relationship Id="rId2" Type="http://schemas.microsoft.com/office/2011/relationships/chartColorStyle" Target="colors1493.xml"/><Relationship Id="rId3" Type="http://schemas.openxmlformats.org/officeDocument/2006/relationships/package" Target="../embeddings/Microsoft_Excel_Worksheet1954.xlsx"/></Relationships>
</file>

<file path=ppt/charts/_rels/chart1956.xml.rels><?xml version='1.0' encoding='UTF-8' standalone='yes'?>
<Relationships xmlns="http://schemas.openxmlformats.org/package/2006/relationships"><Relationship Id="rId1" Type="http://schemas.microsoft.com/office/2011/relationships/chartStyle" Target="style1494.xml"/><Relationship Id="rId2" Type="http://schemas.microsoft.com/office/2011/relationships/chartColorStyle" Target="colors1494.xml"/><Relationship Id="rId3" Type="http://schemas.openxmlformats.org/officeDocument/2006/relationships/package" Target="../embeddings/Microsoft_Excel_Worksheet1955.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65.xml.rels><?xml version='1.0' encoding='UTF-8' standalone='yes'?>
<Relationships xmlns="http://schemas.openxmlformats.org/package/2006/relationships"><Relationship Id="rId1" Type="http://schemas.microsoft.com/office/2011/relationships/chartStyle" Target="style1503.xml"/><Relationship Id="rId2" Type="http://schemas.microsoft.com/office/2011/relationships/chartColorStyle" Target="colors1503.xml"/><Relationship Id="rId3" Type="http://schemas.openxmlformats.org/officeDocument/2006/relationships/package" Target="../embeddings/Microsoft_Excel_Worksheet1964.xlsx"/></Relationships>
</file>

<file path=ppt/charts/_rels/chart1966.xml.rels><?xml version='1.0' encoding='UTF-8' standalone='yes'?>
<Relationships xmlns="http://schemas.openxmlformats.org/package/2006/relationships"><Relationship Id="rId1" Type="http://schemas.microsoft.com/office/2011/relationships/chartStyle" Target="style1504.xml"/><Relationship Id="rId2" Type="http://schemas.microsoft.com/office/2011/relationships/chartColorStyle" Target="colors1504.xml"/><Relationship Id="rId3" Type="http://schemas.openxmlformats.org/officeDocument/2006/relationships/package" Target="../embeddings/Microsoft_Excel_Worksheet1965.xlsx"/></Relationships>
</file>

<file path=ppt/charts/_rels/chart1967.xml.rels><?xml version='1.0' encoding='UTF-8' standalone='yes'?>
<Relationships xmlns="http://schemas.openxmlformats.org/package/2006/relationships"><Relationship Id="rId1" Type="http://schemas.microsoft.com/office/2011/relationships/chartStyle" Target="style1505.xml"/><Relationship Id="rId2" Type="http://schemas.microsoft.com/office/2011/relationships/chartColorStyle" Target="colors1505.xml"/><Relationship Id="rId3" Type="http://schemas.openxmlformats.org/officeDocument/2006/relationships/package" Target="../embeddings/Microsoft_Excel_Worksheet1966.xlsx"/></Relationships>
</file>

<file path=ppt/charts/_rels/chart1968.xml.rels><?xml version='1.0' encoding='UTF-8' standalone='yes'?>
<Relationships xmlns="http://schemas.openxmlformats.org/package/2006/relationships"><Relationship Id="rId1" Type="http://schemas.microsoft.com/office/2011/relationships/chartStyle" Target="style1506.xml"/><Relationship Id="rId2" Type="http://schemas.microsoft.com/office/2011/relationships/chartColorStyle" Target="colors1506.xml"/><Relationship Id="rId3" Type="http://schemas.openxmlformats.org/officeDocument/2006/relationships/package" Target="../embeddings/Microsoft_Excel_Worksheet1967.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77.xml.rels><?xml version='1.0' encoding='UTF-8' standalone='yes'?>
<Relationships xmlns="http://schemas.openxmlformats.org/package/2006/relationships"><Relationship Id="rId1" Type="http://schemas.microsoft.com/office/2011/relationships/chartStyle" Target="style1515.xml"/><Relationship Id="rId2" Type="http://schemas.microsoft.com/office/2011/relationships/chartColorStyle" Target="colors1515.xml"/><Relationship Id="rId3" Type="http://schemas.openxmlformats.org/officeDocument/2006/relationships/package" Target="../embeddings/Microsoft_Excel_Worksheet1976.xlsx"/></Relationships>
</file>

<file path=ppt/charts/_rels/chart1978.xml.rels><?xml version='1.0' encoding='UTF-8' standalone='yes'?>
<Relationships xmlns="http://schemas.openxmlformats.org/package/2006/relationships"><Relationship Id="rId1" Type="http://schemas.microsoft.com/office/2011/relationships/chartStyle" Target="style1516.xml"/><Relationship Id="rId2" Type="http://schemas.microsoft.com/office/2011/relationships/chartColorStyle" Target="colors1516.xml"/><Relationship Id="rId3" Type="http://schemas.openxmlformats.org/officeDocument/2006/relationships/package" Target="../embeddings/Microsoft_Excel_Worksheet1977.xlsx"/></Relationships>
</file>

<file path=ppt/charts/_rels/chart1979.xml.rels><?xml version='1.0' encoding='UTF-8' standalone='yes'?>
<Relationships xmlns="http://schemas.openxmlformats.org/package/2006/relationships"><Relationship Id="rId1" Type="http://schemas.microsoft.com/office/2011/relationships/chartStyle" Target="style1517.xml"/><Relationship Id="rId2" Type="http://schemas.microsoft.com/office/2011/relationships/chartColorStyle" Target="colors1517.xml"/><Relationship Id="rId3" Type="http://schemas.openxmlformats.org/officeDocument/2006/relationships/package" Target="../embeddings/Microsoft_Excel_Worksheet1978.xlsx"/></Relationships>
</file>

<file path=ppt/charts/_rels/chart1980.xml.rels><?xml version='1.0' encoding='UTF-8' standalone='yes'?>
<Relationships xmlns="http://schemas.openxmlformats.org/package/2006/relationships"><Relationship Id="rId1" Type="http://schemas.microsoft.com/office/2011/relationships/chartStyle" Target="style1518.xml"/><Relationship Id="rId2" Type="http://schemas.microsoft.com/office/2011/relationships/chartColorStyle" Target="colors1518.xml"/><Relationship Id="rId3" Type="http://schemas.openxmlformats.org/officeDocument/2006/relationships/package" Target="../embeddings/Microsoft_Excel_Worksheet1979.xlsx"/></Relationships>
</file>

<file path=ppt/charts/_rels/chart1991.xml.rels><?xml version='1.0' encoding='UTF-8' standalone='yes'?>
<Relationships xmlns="http://schemas.openxmlformats.org/package/2006/relationships"><Relationship Id="rId1" Type="http://schemas.microsoft.com/office/2011/relationships/chartStyle" Target="style1529.xml"/><Relationship Id="rId2" Type="http://schemas.microsoft.com/office/2011/relationships/chartColorStyle" Target="colors1529.xml"/><Relationship Id="rId3" Type="http://schemas.openxmlformats.org/officeDocument/2006/relationships/package" Target="../embeddings/Microsoft_Excel_Worksheet1990.xlsx"/></Relationships>
</file>

<file path=ppt/charts/_rels/chart1992.xml.rels><?xml version='1.0' encoding='UTF-8' standalone='yes'?>
<Relationships xmlns="http://schemas.openxmlformats.org/package/2006/relationships"><Relationship Id="rId1" Type="http://schemas.microsoft.com/office/2011/relationships/chartStyle" Target="style1530.xml"/><Relationship Id="rId2" Type="http://schemas.microsoft.com/office/2011/relationships/chartColorStyle" Target="colors1530.xml"/><Relationship Id="rId3" Type="http://schemas.openxmlformats.org/officeDocument/2006/relationships/package" Target="../embeddings/Microsoft_Excel_Worksheet1991.xlsx"/></Relationships>
</file>

<file path=ppt/charts/_rels/chart1993.xml.rels><?xml version='1.0' encoding='UTF-8' standalone='yes'?>
<Relationships xmlns="http://schemas.openxmlformats.org/package/2006/relationships"><Relationship Id="rId1" Type="http://schemas.microsoft.com/office/2011/relationships/chartStyle" Target="style1531.xml"/><Relationship Id="rId2" Type="http://schemas.microsoft.com/office/2011/relationships/chartColorStyle" Target="colors1531.xml"/><Relationship Id="rId3" Type="http://schemas.openxmlformats.org/officeDocument/2006/relationships/package" Target="../embeddings/Microsoft_Excel_Worksheet1992.xlsx"/></Relationships>
</file>

<file path=ppt/charts/_rels/chart1994.xml.rels><?xml version='1.0' encoding='UTF-8' standalone='yes'?>
<Relationships xmlns="http://schemas.openxmlformats.org/package/2006/relationships"><Relationship Id="rId1" Type="http://schemas.microsoft.com/office/2011/relationships/chartStyle" Target="style1532.xml"/><Relationship Id="rId2" Type="http://schemas.microsoft.com/office/2011/relationships/chartColorStyle" Target="colors1532.xml"/><Relationship Id="rId3" Type="http://schemas.openxmlformats.org/officeDocument/2006/relationships/package" Target="../embeddings/Microsoft_Excel_Worksheet1993.xlsx"/></Relationships>
</file>

<file path=ppt/charts/_rels/chart1999.xml.rels><?xml version='1.0' encoding='UTF-8' standalone='yes'?>
<Relationships xmlns="http://schemas.openxmlformats.org/package/2006/relationships"><Relationship Id="rId1" Type="http://schemas.microsoft.com/office/2011/relationships/chartStyle" Target="style1537.xml"/><Relationship Id="rId2" Type="http://schemas.microsoft.com/office/2011/relationships/chartColorStyle" Target="colors1537.xml"/><Relationship Id="rId3" Type="http://schemas.openxmlformats.org/officeDocument/2006/relationships/package" Target="../embeddings/Microsoft_Excel_Worksheet19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00.xml.rels><?xml version='1.0' encoding='UTF-8' standalone='yes'?>
<Relationships xmlns="http://schemas.openxmlformats.org/package/2006/relationships"><Relationship Id="rId1" Type="http://schemas.microsoft.com/office/2011/relationships/chartStyle" Target="style1538.xml"/><Relationship Id="rId2" Type="http://schemas.microsoft.com/office/2011/relationships/chartColorStyle" Target="colors1538.xml"/><Relationship Id="rId3" Type="http://schemas.openxmlformats.org/officeDocument/2006/relationships/package" Target="../embeddings/Microsoft_Excel_Worksheet1999.xlsx"/></Relationships>
</file>

<file path=ppt/charts/_rels/chart2013.xml.rels><?xml version='1.0' encoding='UTF-8' standalone='yes'?>
<Relationships xmlns="http://schemas.openxmlformats.org/package/2006/relationships"><Relationship Id="rId1" Type="http://schemas.microsoft.com/office/2011/relationships/chartStyle" Target="style1551.xml"/><Relationship Id="rId2" Type="http://schemas.microsoft.com/office/2011/relationships/chartColorStyle" Target="colors1551.xml"/><Relationship Id="rId3" Type="http://schemas.openxmlformats.org/officeDocument/2006/relationships/package" Target="../embeddings/Microsoft_Excel_Worksheet2012.xlsx"/></Relationships>
</file>

<file path=ppt/charts/_rels/chart2014.xml.rels><?xml version='1.0' encoding='UTF-8' standalone='yes'?>
<Relationships xmlns="http://schemas.openxmlformats.org/package/2006/relationships"><Relationship Id="rId1" Type="http://schemas.microsoft.com/office/2011/relationships/chartStyle" Target="style1552.xml"/><Relationship Id="rId2" Type="http://schemas.microsoft.com/office/2011/relationships/chartColorStyle" Target="colors1552.xml"/><Relationship Id="rId3" Type="http://schemas.openxmlformats.org/officeDocument/2006/relationships/package" Target="../embeddings/Microsoft_Excel_Worksheet2013.xlsx"/></Relationships>
</file>

<file path=ppt/charts/_rels/chart2021.xml.rels><?xml version='1.0' encoding='UTF-8' standalone='yes'?>
<Relationships xmlns="http://schemas.openxmlformats.org/package/2006/relationships"><Relationship Id="rId1" Type="http://schemas.microsoft.com/office/2011/relationships/chartStyle" Target="style1559.xml"/><Relationship Id="rId2" Type="http://schemas.microsoft.com/office/2011/relationships/chartColorStyle" Target="colors1559.xml"/><Relationship Id="rId3" Type="http://schemas.openxmlformats.org/officeDocument/2006/relationships/package" Target="../embeddings/Microsoft_Excel_Worksheet2020.xlsx"/></Relationships>
</file>

<file path=ppt/charts/_rels/chart2022.xml.rels><?xml version='1.0' encoding='UTF-8' standalone='yes'?>
<Relationships xmlns="http://schemas.openxmlformats.org/package/2006/relationships"><Relationship Id="rId1" Type="http://schemas.microsoft.com/office/2011/relationships/chartStyle" Target="style1560.xml"/><Relationship Id="rId2" Type="http://schemas.microsoft.com/office/2011/relationships/chartColorStyle" Target="colors1560.xml"/><Relationship Id="rId3" Type="http://schemas.openxmlformats.org/officeDocument/2006/relationships/package" Target="../embeddings/Microsoft_Excel_Worksheet2021.xlsx"/></Relationships>
</file>

<file path=ppt/charts/_rels/chart2023.xml.rels><?xml version='1.0' encoding='UTF-8' standalone='yes'?>
<Relationships xmlns="http://schemas.openxmlformats.org/package/2006/relationships"><Relationship Id="rId1" Type="http://schemas.microsoft.com/office/2011/relationships/chartStyle" Target="style1561.xml"/><Relationship Id="rId2" Type="http://schemas.microsoft.com/office/2011/relationships/chartColorStyle" Target="colors1561.xml"/><Relationship Id="rId3" Type="http://schemas.openxmlformats.org/officeDocument/2006/relationships/package" Target="../embeddings/Microsoft_Excel_Worksheet2022.xlsx"/></Relationships>
</file>

<file path=ppt/charts/_rels/chart2024.xml.rels><?xml version='1.0' encoding='UTF-8' standalone='yes'?>
<Relationships xmlns="http://schemas.openxmlformats.org/package/2006/relationships"><Relationship Id="rId1" Type="http://schemas.microsoft.com/office/2011/relationships/chartStyle" Target="style1562.xml"/><Relationship Id="rId2" Type="http://schemas.microsoft.com/office/2011/relationships/chartColorStyle" Target="colors1562.xml"/><Relationship Id="rId3" Type="http://schemas.openxmlformats.org/officeDocument/2006/relationships/package" Target="../embeddings/Microsoft_Excel_Worksheet2023.xlsx"/></Relationships>
</file>

<file path=ppt/charts/_rels/chart2035.xml.rels><?xml version='1.0' encoding='UTF-8' standalone='yes'?>
<Relationships xmlns="http://schemas.openxmlformats.org/package/2006/relationships"><Relationship Id="rId1" Type="http://schemas.microsoft.com/office/2011/relationships/chartStyle" Target="style1573.xml"/><Relationship Id="rId2" Type="http://schemas.microsoft.com/office/2011/relationships/chartColorStyle" Target="colors1573.xml"/><Relationship Id="rId3" Type="http://schemas.openxmlformats.org/officeDocument/2006/relationships/package" Target="../embeddings/Microsoft_Excel_Worksheet2034.xlsx"/></Relationships>
</file>

<file path=ppt/charts/_rels/chart2036.xml.rels><?xml version='1.0' encoding='UTF-8' standalone='yes'?>
<Relationships xmlns="http://schemas.openxmlformats.org/package/2006/relationships"><Relationship Id="rId1" Type="http://schemas.microsoft.com/office/2011/relationships/chartStyle" Target="style1574.xml"/><Relationship Id="rId2" Type="http://schemas.microsoft.com/office/2011/relationships/chartColorStyle" Target="colors1574.xml"/><Relationship Id="rId3" Type="http://schemas.openxmlformats.org/officeDocument/2006/relationships/package" Target="../embeddings/Microsoft_Excel_Worksheet2035.xlsx"/></Relationships>
</file>

<file path=ppt/charts/_rels/chart2037.xml.rels><?xml version='1.0' encoding='UTF-8' standalone='yes'?>
<Relationships xmlns="http://schemas.openxmlformats.org/package/2006/relationships"><Relationship Id="rId1" Type="http://schemas.microsoft.com/office/2011/relationships/chartStyle" Target="style1575.xml"/><Relationship Id="rId2" Type="http://schemas.microsoft.com/office/2011/relationships/chartColorStyle" Target="colors1575.xml"/><Relationship Id="rId3" Type="http://schemas.openxmlformats.org/officeDocument/2006/relationships/package" Target="../embeddings/Microsoft_Excel_Worksheet2036.xlsx"/></Relationships>
</file>

<file path=ppt/charts/_rels/chart2038.xml.rels><?xml version='1.0' encoding='UTF-8' standalone='yes'?>
<Relationships xmlns="http://schemas.openxmlformats.org/package/2006/relationships"><Relationship Id="rId1" Type="http://schemas.microsoft.com/office/2011/relationships/chartStyle" Target="style1576.xml"/><Relationship Id="rId2" Type="http://schemas.microsoft.com/office/2011/relationships/chartColorStyle" Target="colors1576.xml"/><Relationship Id="rId3" Type="http://schemas.openxmlformats.org/officeDocument/2006/relationships/package" Target="../embeddings/Microsoft_Excel_Worksheet2037.xlsx"/></Relationships>
</file>

<file path=ppt/charts/_rels/chart2043.xml.rels><?xml version='1.0' encoding='UTF-8' standalone='yes'?>
<Relationships xmlns="http://schemas.openxmlformats.org/package/2006/relationships"><Relationship Id="rId1" Type="http://schemas.microsoft.com/office/2011/relationships/chartStyle" Target="style1581.xml"/><Relationship Id="rId2" Type="http://schemas.microsoft.com/office/2011/relationships/chartColorStyle" Target="colors1581.xml"/><Relationship Id="rId3" Type="http://schemas.openxmlformats.org/officeDocument/2006/relationships/package" Target="../embeddings/Microsoft_Excel_Worksheet2042.xlsx"/></Relationships>
</file>

<file path=ppt/charts/_rels/chart2044.xml.rels><?xml version='1.0' encoding='UTF-8' standalone='yes'?>
<Relationships xmlns="http://schemas.openxmlformats.org/package/2006/relationships"><Relationship Id="rId1" Type="http://schemas.microsoft.com/office/2011/relationships/chartStyle" Target="style1582.xml"/><Relationship Id="rId2" Type="http://schemas.microsoft.com/office/2011/relationships/chartColorStyle" Target="colors1582.xml"/><Relationship Id="rId3" Type="http://schemas.openxmlformats.org/officeDocument/2006/relationships/package" Target="../embeddings/Microsoft_Excel_Worksheet2043.xlsx"/></Relationships>
</file>

<file path=ppt/charts/_rels/chart2049.xml.rels><?xml version='1.0' encoding='UTF-8' standalone='yes'?>
<Relationships xmlns="http://schemas.openxmlformats.org/package/2006/relationships"><Relationship Id="rId1" Type="http://schemas.microsoft.com/office/2011/relationships/chartStyle" Target="style1587.xml"/><Relationship Id="rId2" Type="http://schemas.microsoft.com/office/2011/relationships/chartColorStyle" Target="colors1587.xml"/><Relationship Id="rId3" Type="http://schemas.openxmlformats.org/officeDocument/2006/relationships/package" Target="../embeddings/Microsoft_Excel_Worksheet2048.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50.xml.rels><?xml version='1.0' encoding='UTF-8' standalone='yes'?>
<Relationships xmlns="http://schemas.openxmlformats.org/package/2006/relationships"><Relationship Id="rId1" Type="http://schemas.microsoft.com/office/2011/relationships/chartStyle" Target="style1588.xml"/><Relationship Id="rId2" Type="http://schemas.microsoft.com/office/2011/relationships/chartColorStyle" Target="colors1588.xml"/><Relationship Id="rId3" Type="http://schemas.openxmlformats.org/officeDocument/2006/relationships/package" Target="../embeddings/Microsoft_Excel_Worksheet2049.xlsx"/></Relationships>
</file>

<file path=ppt/charts/_rels/chart2051.xml.rels><?xml version='1.0' encoding='UTF-8' standalone='yes'?>
<Relationships xmlns="http://schemas.openxmlformats.org/package/2006/relationships"><Relationship Id="rId1" Type="http://schemas.microsoft.com/office/2011/relationships/chartStyle" Target="style1589.xml"/><Relationship Id="rId2" Type="http://schemas.microsoft.com/office/2011/relationships/chartColorStyle" Target="colors1589.xml"/><Relationship Id="rId3"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microsoft.com/office/2011/relationships/chartStyle" Target="style1590.xml"/><Relationship Id="rId2" Type="http://schemas.microsoft.com/office/2011/relationships/chartColorStyle" Target="colors1590.xml"/><Relationship Id="rId3" Type="http://schemas.openxmlformats.org/officeDocument/2006/relationships/package" Target="../embeddings/Microsoft_Excel_Worksheet2051.xlsx"/></Relationships>
</file>

<file path=ppt/charts/_rels/chart2057.xml.rels><?xml version='1.0' encoding='UTF-8' standalone='yes'?>
<Relationships xmlns="http://schemas.openxmlformats.org/package/2006/relationships"><Relationship Id="rId1" Type="http://schemas.microsoft.com/office/2011/relationships/chartStyle" Target="style1595.xml"/><Relationship Id="rId2" Type="http://schemas.microsoft.com/office/2011/relationships/chartColorStyle" Target="colors1595.xml"/><Relationship Id="rId3" Type="http://schemas.openxmlformats.org/officeDocument/2006/relationships/package" Target="../embeddings/Microsoft_Excel_Worksheet2056.xlsx"/></Relationships>
</file>

<file path=ppt/charts/_rels/chart2058.xml.rels><?xml version='1.0' encoding='UTF-8' standalone='yes'?>
<Relationships xmlns="http://schemas.openxmlformats.org/package/2006/relationships"><Relationship Id="rId1" Type="http://schemas.microsoft.com/office/2011/relationships/chartStyle" Target="style1596.xml"/><Relationship Id="rId2" Type="http://schemas.microsoft.com/office/2011/relationships/chartColorStyle" Target="colors1596.xml"/><Relationship Id="rId3" Type="http://schemas.openxmlformats.org/officeDocument/2006/relationships/package" Target="../embeddings/Microsoft_Excel_Worksheet2057.xlsx"/></Relationships>
</file>

<file path=ppt/charts/_rels/chart2065.xml.rels><?xml version='1.0' encoding='UTF-8' standalone='yes'?>
<Relationships xmlns="http://schemas.openxmlformats.org/package/2006/relationships"><Relationship Id="rId1" Type="http://schemas.microsoft.com/office/2011/relationships/chartStyle" Target="style1603.xml"/><Relationship Id="rId2" Type="http://schemas.microsoft.com/office/2011/relationships/chartColorStyle" Target="colors1603.xml"/><Relationship Id="rId3" Type="http://schemas.openxmlformats.org/officeDocument/2006/relationships/package" Target="../embeddings/Microsoft_Excel_Worksheet2064.xlsx"/></Relationships>
</file>

<file path=ppt/charts/_rels/chart2066.xml.rels><?xml version='1.0' encoding='UTF-8' standalone='yes'?>
<Relationships xmlns="http://schemas.openxmlformats.org/package/2006/relationships"><Relationship Id="rId1" Type="http://schemas.microsoft.com/office/2011/relationships/chartStyle" Target="style1604.xml"/><Relationship Id="rId2" Type="http://schemas.microsoft.com/office/2011/relationships/chartColorStyle" Target="colors1604.xml"/><Relationship Id="rId3" Type="http://schemas.openxmlformats.org/officeDocument/2006/relationships/package" Target="../embeddings/Microsoft_Excel_Worksheet2065.xlsx"/></Relationships>
</file>

<file path=ppt/charts/_rels/chart2067.xml.rels><?xml version='1.0' encoding='UTF-8' standalone='yes'?>
<Relationships xmlns="http://schemas.openxmlformats.org/package/2006/relationships"><Relationship Id="rId1" Type="http://schemas.microsoft.com/office/2011/relationships/chartStyle" Target="style1605.xml"/><Relationship Id="rId2" Type="http://schemas.microsoft.com/office/2011/relationships/chartColorStyle" Target="colors1605.xml"/><Relationship Id="rId3" Type="http://schemas.openxmlformats.org/officeDocument/2006/relationships/package" Target="../embeddings/Microsoft_Excel_Worksheet2066.xlsx"/></Relationships>
</file>

<file path=ppt/charts/_rels/chart2068.xml.rels><?xml version='1.0' encoding='UTF-8' standalone='yes'?>
<Relationships xmlns="http://schemas.openxmlformats.org/package/2006/relationships"><Relationship Id="rId1" Type="http://schemas.microsoft.com/office/2011/relationships/chartStyle" Target="style1606.xml"/><Relationship Id="rId2" Type="http://schemas.microsoft.com/office/2011/relationships/chartColorStyle" Target="colors1606.xml"/><Relationship Id="rId3" Type="http://schemas.openxmlformats.org/officeDocument/2006/relationships/package" Target="../embeddings/Microsoft_Excel_Worksheet2067.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79.xml.rels><?xml version='1.0' encoding='UTF-8' standalone='yes'?>
<Relationships xmlns="http://schemas.openxmlformats.org/package/2006/relationships"><Relationship Id="rId1" Type="http://schemas.microsoft.com/office/2011/relationships/chartStyle" Target="style1617.xml"/><Relationship Id="rId2" Type="http://schemas.microsoft.com/office/2011/relationships/chartColorStyle" Target="colors1617.xml"/><Relationship Id="rId3" Type="http://schemas.openxmlformats.org/officeDocument/2006/relationships/package" Target="../embeddings/Microsoft_Excel_Worksheet2078.xlsx"/></Relationships>
</file>

<file path=ppt/charts/_rels/chart2080.xml.rels><?xml version='1.0' encoding='UTF-8' standalone='yes'?>
<Relationships xmlns="http://schemas.openxmlformats.org/package/2006/relationships"><Relationship Id="rId1" Type="http://schemas.microsoft.com/office/2011/relationships/chartStyle" Target="style1618.xml"/><Relationship Id="rId2" Type="http://schemas.microsoft.com/office/2011/relationships/chartColorStyle" Target="colors1618.xml"/><Relationship Id="rId3" Type="http://schemas.openxmlformats.org/officeDocument/2006/relationships/package" Target="../embeddings/Microsoft_Excel_Worksheet2079.xlsx"/></Relationships>
</file>

<file path=ppt/charts/_rels/chart2081.xml.rels><?xml version='1.0' encoding='UTF-8' standalone='yes'?>
<Relationships xmlns="http://schemas.openxmlformats.org/package/2006/relationships"><Relationship Id="rId1" Type="http://schemas.microsoft.com/office/2011/relationships/chartStyle" Target="style1619.xml"/><Relationship Id="rId2" Type="http://schemas.microsoft.com/office/2011/relationships/chartColorStyle" Target="colors1619.xml"/><Relationship Id="rId3" Type="http://schemas.openxmlformats.org/officeDocument/2006/relationships/package" Target="../embeddings/Microsoft_Excel_Worksheet2080.xlsx"/></Relationships>
</file>

<file path=ppt/charts/_rels/chart2082.xml.rels><?xml version='1.0' encoding='UTF-8' standalone='yes'?>
<Relationships xmlns="http://schemas.openxmlformats.org/package/2006/relationships"><Relationship Id="rId1" Type="http://schemas.microsoft.com/office/2011/relationships/chartStyle" Target="style1620.xml"/><Relationship Id="rId2" Type="http://schemas.microsoft.com/office/2011/relationships/chartColorStyle" Target="colors1620.xml"/><Relationship Id="rId3" Type="http://schemas.openxmlformats.org/officeDocument/2006/relationships/package" Target="../embeddings/Microsoft_Excel_Worksheet2081.xlsx"/></Relationships>
</file>

<file path=ppt/charts/_rels/chart2087.xml.rels><?xml version='1.0' encoding='UTF-8' standalone='yes'?>
<Relationships xmlns="http://schemas.openxmlformats.org/package/2006/relationships"><Relationship Id="rId1" Type="http://schemas.microsoft.com/office/2011/relationships/chartStyle" Target="style1625.xml"/><Relationship Id="rId2" Type="http://schemas.microsoft.com/office/2011/relationships/chartColorStyle" Target="colors1625.xml"/><Relationship Id="rId3" Type="http://schemas.openxmlformats.org/officeDocument/2006/relationships/package" Target="../embeddings/Microsoft_Excel_Worksheet2086.xlsx"/></Relationships>
</file>

<file path=ppt/charts/_rels/chart2088.xml.rels><?xml version='1.0' encoding='UTF-8' standalone='yes'?>
<Relationships xmlns="http://schemas.openxmlformats.org/package/2006/relationships"><Relationship Id="rId1" Type="http://schemas.microsoft.com/office/2011/relationships/chartStyle" Target="style1626.xml"/><Relationship Id="rId2" Type="http://schemas.microsoft.com/office/2011/relationships/chartColorStyle" Target="colors1626.xml"/><Relationship Id="rId3" Type="http://schemas.openxmlformats.org/officeDocument/2006/relationships/package" Target="../embeddings/Microsoft_Excel_Worksheet2087.xlsx"/></Relationships>
</file>

<file path=ppt/charts/_rels/chart2093.xml.rels><?xml version='1.0' encoding='UTF-8' standalone='yes'?>
<Relationships xmlns="http://schemas.openxmlformats.org/package/2006/relationships"><Relationship Id="rId1" Type="http://schemas.microsoft.com/office/2011/relationships/chartStyle" Target="style1631.xml"/><Relationship Id="rId2" Type="http://schemas.microsoft.com/office/2011/relationships/chartColorStyle" Target="colors1631.xml"/><Relationship Id="rId3" Type="http://schemas.openxmlformats.org/officeDocument/2006/relationships/package" Target="../embeddings/Microsoft_Excel_Worksheet2092.xlsx"/></Relationships>
</file>

<file path=ppt/charts/_rels/chart2094.xml.rels><?xml version='1.0' encoding='UTF-8' standalone='yes'?>
<Relationships xmlns="http://schemas.openxmlformats.org/package/2006/relationships"><Relationship Id="rId1" Type="http://schemas.microsoft.com/office/2011/relationships/chartStyle" Target="style1632.xml"/><Relationship Id="rId2" Type="http://schemas.microsoft.com/office/2011/relationships/chartColorStyle" Target="colors1632.xml"/><Relationship Id="rId3" Type="http://schemas.openxmlformats.org/officeDocument/2006/relationships/package" Target="../embeddings/Microsoft_Excel_Worksheet2093.xlsx"/></Relationships>
</file>

<file path=ppt/charts/_rels/chart2095.xml.rels><?xml version='1.0' encoding='UTF-8' standalone='yes'?>
<Relationships xmlns="http://schemas.openxmlformats.org/package/2006/relationships"><Relationship Id="rId1" Type="http://schemas.microsoft.com/office/2011/relationships/chartStyle" Target="style1633.xml"/><Relationship Id="rId2" Type="http://schemas.microsoft.com/office/2011/relationships/chartColorStyle" Target="colors1633.xml"/><Relationship Id="rId3" Type="http://schemas.openxmlformats.org/officeDocument/2006/relationships/package" Target="../embeddings/Microsoft_Excel_Worksheet2094.xlsx"/></Relationships>
</file>

<file path=ppt/charts/_rels/chart2096.xml.rels><?xml version='1.0' encoding='UTF-8' standalone='yes'?>
<Relationships xmlns="http://schemas.openxmlformats.org/package/2006/relationships"><Relationship Id="rId1" Type="http://schemas.microsoft.com/office/2011/relationships/chartStyle" Target="style1634.xml"/><Relationship Id="rId2" Type="http://schemas.microsoft.com/office/2011/relationships/chartColorStyle" Target="colors1634.xml"/><Relationship Id="rId3" Type="http://schemas.openxmlformats.org/officeDocument/2006/relationships/package" Target="../embeddings/Microsoft_Excel_Worksheet2095.xlsx"/></Relationships>
</file>

<file path=ppt/charts/_rels/chart2101.xml.rels><?xml version='1.0' encoding='UTF-8' standalone='yes'?>
<Relationships xmlns="http://schemas.openxmlformats.org/package/2006/relationships"><Relationship Id="rId1" Type="http://schemas.microsoft.com/office/2011/relationships/chartStyle" Target="style1639.xml"/><Relationship Id="rId2" Type="http://schemas.microsoft.com/office/2011/relationships/chartColorStyle" Target="colors1639.xml"/><Relationship Id="rId3" Type="http://schemas.openxmlformats.org/officeDocument/2006/relationships/package" Target="../embeddings/Microsoft_Excel_Worksheet2100.xlsx"/></Relationships>
</file>

<file path=ppt/charts/_rels/chart2102.xml.rels><?xml version='1.0' encoding='UTF-8' standalone='yes'?>
<Relationships xmlns="http://schemas.openxmlformats.org/package/2006/relationships"><Relationship Id="rId1" Type="http://schemas.microsoft.com/office/2011/relationships/chartStyle" Target="style1640.xml"/><Relationship Id="rId2" Type="http://schemas.microsoft.com/office/2011/relationships/chartColorStyle" Target="colors1640.xml"/><Relationship Id="rId3" Type="http://schemas.openxmlformats.org/officeDocument/2006/relationships/package" Target="../embeddings/Microsoft_Excel_Worksheet2101.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23.xml.rels><?xml version='1.0' encoding='UTF-8' standalone='yes'?>
<Relationships xmlns="http://schemas.openxmlformats.org/package/2006/relationships"><Relationship Id="rId1" Type="http://schemas.microsoft.com/office/2011/relationships/chartStyle" Target="style1661.xml"/><Relationship Id="rId2" Type="http://schemas.microsoft.com/office/2011/relationships/chartColorStyle" Target="colors1661.xml"/><Relationship Id="rId3" Type="http://schemas.openxmlformats.org/officeDocument/2006/relationships/package" Target="../embeddings/Microsoft_Excel_Worksheet2122.xlsx"/></Relationships>
</file>

<file path=ppt/charts/_rels/chart2124.xml.rels><?xml version='1.0' encoding='UTF-8' standalone='yes'?>
<Relationships xmlns="http://schemas.openxmlformats.org/package/2006/relationships"><Relationship Id="rId1" Type="http://schemas.microsoft.com/office/2011/relationships/chartStyle" Target="style1662.xml"/><Relationship Id="rId2" Type="http://schemas.microsoft.com/office/2011/relationships/chartColorStyle" Target="colors1662.xml"/><Relationship Id="rId3" Type="http://schemas.openxmlformats.org/officeDocument/2006/relationships/package" Target="../embeddings/Microsoft_Excel_Worksheet2123.xlsx"/></Relationships>
</file>

<file path=ppt/charts/_rels/chart2125.xml.rels><?xml version='1.0' encoding='UTF-8' standalone='yes'?>
<Relationships xmlns="http://schemas.openxmlformats.org/package/2006/relationships"><Relationship Id="rId1" Type="http://schemas.microsoft.com/office/2011/relationships/chartStyle" Target="style1663.xml"/><Relationship Id="rId2" Type="http://schemas.microsoft.com/office/2011/relationships/chartColorStyle" Target="colors1663.xml"/><Relationship Id="rId3" Type="http://schemas.openxmlformats.org/officeDocument/2006/relationships/package" Target="../embeddings/Microsoft_Excel_Worksheet2124.xlsx"/></Relationships>
</file>

<file path=ppt/charts/_rels/chart2126.xml.rels><?xml version='1.0' encoding='UTF-8' standalone='yes'?>
<Relationships xmlns="http://schemas.openxmlformats.org/package/2006/relationships"><Relationship Id="rId1" Type="http://schemas.microsoft.com/office/2011/relationships/chartStyle" Target="style1664.xml"/><Relationship Id="rId2" Type="http://schemas.microsoft.com/office/2011/relationships/chartColorStyle" Target="colors1664.xml"/><Relationship Id="rId3" Type="http://schemas.openxmlformats.org/officeDocument/2006/relationships/package" Target="../embeddings/Microsoft_Excel_Worksheet2125.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3.xml.rels><?xml version='1.0' encoding='UTF-8' standalone='yes'?>
<Relationships xmlns="http://schemas.openxmlformats.org/package/2006/relationships"><Relationship Id="rId1" Type="http://schemas.microsoft.com/office/2011/relationships/chartStyle" Target="style1671.xml"/><Relationship Id="rId2" Type="http://schemas.microsoft.com/office/2011/relationships/chartColorStyle" Target="colors1671.xml"/><Relationship Id="rId3" Type="http://schemas.openxmlformats.org/officeDocument/2006/relationships/package" Target="../embeddings/Microsoft_Excel_Worksheet2132.xlsx"/></Relationships>
</file>

<file path=ppt/charts/_rels/chart2134.xml.rels><?xml version='1.0' encoding='UTF-8' standalone='yes'?>
<Relationships xmlns="http://schemas.openxmlformats.org/package/2006/relationships"><Relationship Id="rId1" Type="http://schemas.microsoft.com/office/2011/relationships/chartStyle" Target="style1672.xml"/><Relationship Id="rId2" Type="http://schemas.microsoft.com/office/2011/relationships/chartColorStyle" Target="colors1672.xml"/><Relationship Id="rId3" Type="http://schemas.openxmlformats.org/officeDocument/2006/relationships/package" Target="../embeddings/Microsoft_Excel_Worksheet2133.xlsx"/></Relationships>
</file>

<file path=ppt/charts/_rels/chart2143.xml.rels><?xml version='1.0' encoding='UTF-8' standalone='yes'?>
<Relationships xmlns="http://schemas.openxmlformats.org/package/2006/relationships"><Relationship Id="rId1" Type="http://schemas.microsoft.com/office/2011/relationships/chartStyle" Target="style1681.xml"/><Relationship Id="rId2" Type="http://schemas.microsoft.com/office/2011/relationships/chartColorStyle" Target="colors1681.xml"/><Relationship Id="rId3"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microsoft.com/office/2011/relationships/chartStyle" Target="style1682.xml"/><Relationship Id="rId2" Type="http://schemas.microsoft.com/office/2011/relationships/chartColorStyle" Target="colors1682.xml"/><Relationship Id="rId3" Type="http://schemas.openxmlformats.org/officeDocument/2006/relationships/package" Target="../embeddings/Microsoft_Excel_Worksheet2143.xlsx"/></Relationships>
</file>

<file path=ppt/charts/_rels/chart2145.xml.rels><?xml version='1.0' encoding='UTF-8' standalone='yes'?>
<Relationships xmlns="http://schemas.openxmlformats.org/package/2006/relationships"><Relationship Id="rId1" Type="http://schemas.microsoft.com/office/2011/relationships/chartStyle" Target="style1683.xml"/><Relationship Id="rId2" Type="http://schemas.microsoft.com/office/2011/relationships/chartColorStyle" Target="colors1683.xml"/><Relationship Id="rId3" Type="http://schemas.openxmlformats.org/officeDocument/2006/relationships/package" Target="../embeddings/Microsoft_Excel_Worksheet2144.xlsx"/></Relationships>
</file>

<file path=ppt/charts/_rels/chart2146.xml.rels><?xml version='1.0' encoding='UTF-8' standalone='yes'?>
<Relationships xmlns="http://schemas.openxmlformats.org/package/2006/relationships"><Relationship Id="rId1" Type="http://schemas.microsoft.com/office/2011/relationships/chartStyle" Target="style1684.xml"/><Relationship Id="rId2" Type="http://schemas.microsoft.com/office/2011/relationships/chartColorStyle" Target="colors1684.xml"/><Relationship Id="rId3" Type="http://schemas.openxmlformats.org/officeDocument/2006/relationships/package" Target="../embeddings/Microsoft_Excel_Worksheet2145.xlsx"/></Relationships>
</file>

<file path=ppt/charts/_rels/chart2155.xml.rels><?xml version='1.0' encoding='UTF-8' standalone='yes'?>
<Relationships xmlns="http://schemas.openxmlformats.org/package/2006/relationships"><Relationship Id="rId1" Type="http://schemas.microsoft.com/office/2011/relationships/chartStyle" Target="style1693.xml"/><Relationship Id="rId2" Type="http://schemas.microsoft.com/office/2011/relationships/chartColorStyle" Target="colors1693.xml"/><Relationship Id="rId3"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microsoft.com/office/2011/relationships/chartStyle" Target="style1694.xml"/><Relationship Id="rId2" Type="http://schemas.microsoft.com/office/2011/relationships/chartColorStyle" Target="colors1694.xml"/><Relationship Id="rId3" Type="http://schemas.openxmlformats.org/officeDocument/2006/relationships/package" Target="../embeddings/Microsoft_Excel_Worksheet2155.xlsx"/></Relationships>
</file>

<file path=ppt/charts/_rels/chart2157.xml.rels><?xml version='1.0' encoding='UTF-8' standalone='yes'?>
<Relationships xmlns="http://schemas.openxmlformats.org/package/2006/relationships"><Relationship Id="rId1" Type="http://schemas.microsoft.com/office/2011/relationships/chartStyle" Target="style1695.xml"/><Relationship Id="rId2" Type="http://schemas.microsoft.com/office/2011/relationships/chartColorStyle" Target="colors1695.xml"/><Relationship Id="rId3" Type="http://schemas.openxmlformats.org/officeDocument/2006/relationships/package" Target="../embeddings/Microsoft_Excel_Worksheet2156.xlsx"/></Relationships>
</file>

<file path=ppt/charts/_rels/chart2158.xml.rels><?xml version='1.0' encoding='UTF-8' standalone='yes'?>
<Relationships xmlns="http://schemas.openxmlformats.org/package/2006/relationships"><Relationship Id="rId1" Type="http://schemas.microsoft.com/office/2011/relationships/chartStyle" Target="style1696.xml"/><Relationship Id="rId2" Type="http://schemas.microsoft.com/office/2011/relationships/chartColorStyle" Target="colors1696.xml"/><Relationship Id="rId3" Type="http://schemas.openxmlformats.org/officeDocument/2006/relationships/package" Target="../embeddings/Microsoft_Excel_Worksheet2157.xlsx"/></Relationships>
</file>

<file path=ppt/charts/_rels/chart2169.xml.rels><?xml version='1.0' encoding='UTF-8' standalone='yes'?>
<Relationships xmlns="http://schemas.openxmlformats.org/package/2006/relationships"><Relationship Id="rId1" Type="http://schemas.microsoft.com/office/2011/relationships/chartStyle" Target="style1707.xml"/><Relationship Id="rId2" Type="http://schemas.microsoft.com/office/2011/relationships/chartColorStyle" Target="colors1707.xml"/><Relationship Id="rId3" Type="http://schemas.openxmlformats.org/officeDocument/2006/relationships/package" Target="../embeddings/Microsoft_Excel_Worksheet2168.xlsx"/></Relationships>
</file>

<file path=ppt/charts/_rels/chart2170.xml.rels><?xml version='1.0' encoding='UTF-8' standalone='yes'?>
<Relationships xmlns="http://schemas.openxmlformats.org/package/2006/relationships"><Relationship Id="rId1" Type="http://schemas.microsoft.com/office/2011/relationships/chartStyle" Target="style1708.xml"/><Relationship Id="rId2" Type="http://schemas.microsoft.com/office/2011/relationships/chartColorStyle" Target="colors1708.xml"/><Relationship Id="rId3" Type="http://schemas.openxmlformats.org/officeDocument/2006/relationships/package" Target="../embeddings/Microsoft_Excel_Worksheet2169.xlsx"/></Relationships>
</file>

<file path=ppt/charts/_rels/chart2171.xml.rels><?xml version='1.0' encoding='UTF-8' standalone='yes'?>
<Relationships xmlns="http://schemas.openxmlformats.org/package/2006/relationships"><Relationship Id="rId1" Type="http://schemas.microsoft.com/office/2011/relationships/chartStyle" Target="style1709.xml"/><Relationship Id="rId2" Type="http://schemas.microsoft.com/office/2011/relationships/chartColorStyle" Target="colors1709.xml"/><Relationship Id="rId3" Type="http://schemas.openxmlformats.org/officeDocument/2006/relationships/package" Target="../embeddings/Microsoft_Excel_Worksheet2170.xlsx"/></Relationships>
</file>

<file path=ppt/charts/_rels/chart2172.xml.rels><?xml version='1.0' encoding='UTF-8' standalone='yes'?>
<Relationships xmlns="http://schemas.openxmlformats.org/package/2006/relationships"><Relationship Id="rId1" Type="http://schemas.microsoft.com/office/2011/relationships/chartStyle" Target="style1710.xml"/><Relationship Id="rId2" Type="http://schemas.microsoft.com/office/2011/relationships/chartColorStyle" Target="colors1710.xml"/><Relationship Id="rId3" Type="http://schemas.openxmlformats.org/officeDocument/2006/relationships/package" Target="../embeddings/Microsoft_Excel_Worksheet2171.xlsx"/></Relationships>
</file>

<file path=ppt/charts/_rels/chart2177.xml.rels><?xml version='1.0' encoding='UTF-8' standalone='yes'?>
<Relationships xmlns="http://schemas.openxmlformats.org/package/2006/relationships"><Relationship Id="rId1" Type="http://schemas.microsoft.com/office/2011/relationships/chartStyle" Target="style1715.xml"/><Relationship Id="rId2" Type="http://schemas.microsoft.com/office/2011/relationships/chartColorStyle" Target="colors1715.xml"/><Relationship Id="rId3" Type="http://schemas.openxmlformats.org/officeDocument/2006/relationships/package" Target="../embeddings/Microsoft_Excel_Worksheet2176.xlsx"/></Relationships>
</file>

<file path=ppt/charts/_rels/chart2178.xml.rels><?xml version='1.0' encoding='UTF-8' standalone='yes'?>
<Relationships xmlns="http://schemas.openxmlformats.org/package/2006/relationships"><Relationship Id="rId1" Type="http://schemas.microsoft.com/office/2011/relationships/chartStyle" Target="style1716.xml"/><Relationship Id="rId2" Type="http://schemas.microsoft.com/office/2011/relationships/chartColorStyle" Target="colors1716.xml"/><Relationship Id="rId3" Type="http://schemas.openxmlformats.org/officeDocument/2006/relationships/package" Target="../embeddings/Microsoft_Excel_Worksheet2177.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87.xml.rels><?xml version='1.0' encoding='UTF-8' standalone='yes'?>
<Relationships xmlns="http://schemas.openxmlformats.org/package/2006/relationships"><Relationship Id="rId1" Type="http://schemas.microsoft.com/office/2011/relationships/chartStyle" Target="style1725.xml"/><Relationship Id="rId2" Type="http://schemas.microsoft.com/office/2011/relationships/chartColorStyle" Target="colors1725.xml"/><Relationship Id="rId3"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microsoft.com/office/2011/relationships/chartStyle" Target="style1726.xml"/><Relationship Id="rId2" Type="http://schemas.microsoft.com/office/2011/relationships/chartColorStyle" Target="colors1726.xml"/><Relationship Id="rId3" Type="http://schemas.openxmlformats.org/officeDocument/2006/relationships/package" Target="../embeddings/Microsoft_Excel_Worksheet218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191.xml.rels><?xml version='1.0' encoding='UTF-8' standalone='yes'?>
<Relationships xmlns="http://schemas.openxmlformats.org/package/2006/relationships"><Relationship Id="rId1" Type="http://schemas.microsoft.com/office/2011/relationships/chartStyle" Target="style1729.xml"/><Relationship Id="rId2" Type="http://schemas.microsoft.com/office/2011/relationships/chartColorStyle" Target="colors1729.xml"/><Relationship Id="rId3" Type="http://schemas.openxmlformats.org/officeDocument/2006/relationships/package" Target="../embeddings/Microsoft_Excel_Worksheet2190.xlsx"/></Relationships>
</file>

<file path=ppt/charts/_rels/chart2192.xml.rels><?xml version='1.0' encoding='UTF-8' standalone='yes'?>
<Relationships xmlns="http://schemas.openxmlformats.org/package/2006/relationships"><Relationship Id="rId1" Type="http://schemas.microsoft.com/office/2011/relationships/chartStyle" Target="style1730.xml"/><Relationship Id="rId2" Type="http://schemas.microsoft.com/office/2011/relationships/chartColorStyle" Target="colors1730.xml"/><Relationship Id="rId3" Type="http://schemas.openxmlformats.org/officeDocument/2006/relationships/package" Target="../embeddings/Microsoft_Excel_Worksheet2191.xlsx"/></Relationships>
</file>

<file path=ppt/charts/_rels/chart2199.xml.rels><?xml version='1.0' encoding='UTF-8' standalone='yes'?>
<Relationships xmlns="http://schemas.openxmlformats.org/package/2006/relationships"><Relationship Id="rId1" Type="http://schemas.microsoft.com/office/2011/relationships/chartStyle" Target="style1737.xml"/><Relationship Id="rId2" Type="http://schemas.microsoft.com/office/2011/relationships/chartColorStyle" Target="colors1737.xml"/><Relationship Id="rId3" Type="http://schemas.openxmlformats.org/officeDocument/2006/relationships/package" Target="../embeddings/Microsoft_Excel_Worksheet2198.xlsx"/></Relationships>
</file>

<file path=ppt/charts/_rels/chart2200.xml.rels><?xml version='1.0' encoding='UTF-8' standalone='yes'?>
<Relationships xmlns="http://schemas.openxmlformats.org/package/2006/relationships"><Relationship Id="rId1" Type="http://schemas.microsoft.com/office/2011/relationships/chartStyle" Target="style1738.xml"/><Relationship Id="rId2" Type="http://schemas.microsoft.com/office/2011/relationships/chartColorStyle" Target="colors1738.xml"/><Relationship Id="rId3" Type="http://schemas.openxmlformats.org/officeDocument/2006/relationships/package" Target="../embeddings/Microsoft_Excel_Worksheet2199.xlsx"/></Relationships>
</file>

<file path=ppt/charts/_rels/chart2201.xml.rels><?xml version='1.0' encoding='UTF-8' standalone='yes'?>
<Relationships xmlns="http://schemas.openxmlformats.org/package/2006/relationships"><Relationship Id="rId1" Type="http://schemas.microsoft.com/office/2011/relationships/chartStyle" Target="style1739.xml"/><Relationship Id="rId2" Type="http://schemas.microsoft.com/office/2011/relationships/chartColorStyle" Target="colors1739.xml"/><Relationship Id="rId3" Type="http://schemas.openxmlformats.org/officeDocument/2006/relationships/package" Target="../embeddings/Microsoft_Excel_Worksheet2200.xlsx"/></Relationships>
</file>

<file path=ppt/charts/_rels/chart2206.xml.rels><?xml version='1.0' encoding='UTF-8' standalone='yes'?>
<Relationships xmlns="http://schemas.openxmlformats.org/package/2006/relationships"><Relationship Id="rId1" Type="http://schemas.microsoft.com/office/2011/relationships/chartStyle" Target="style1744.xml"/><Relationship Id="rId2" Type="http://schemas.microsoft.com/office/2011/relationships/chartColorStyle" Target="colors1744.xml"/><Relationship Id="rId3" Type="http://schemas.openxmlformats.org/officeDocument/2006/relationships/package" Target="../embeddings/Microsoft_Excel_Worksheet2205.xlsx"/></Relationships>
</file>

<file path=ppt/charts/_rels/chart2207.xml.rels><?xml version='1.0' encoding='UTF-8' standalone='yes'?>
<Relationships xmlns="http://schemas.openxmlformats.org/package/2006/relationships"><Relationship Id="rId1" Type="http://schemas.microsoft.com/office/2011/relationships/chartStyle" Target="style1745.xml"/><Relationship Id="rId2" Type="http://schemas.microsoft.com/office/2011/relationships/chartColorStyle" Target="colors1745.xml"/><Relationship Id="rId3" Type="http://schemas.openxmlformats.org/officeDocument/2006/relationships/package" Target="../embeddings/Microsoft_Excel_Worksheet2206.xlsx"/></Relationships>
</file>

<file path=ppt/charts/_rels/chart2210.xml.rels><?xml version='1.0' encoding='UTF-8' standalone='yes'?>
<Relationships xmlns="http://schemas.openxmlformats.org/package/2006/relationships"><Relationship Id="rId1" Type="http://schemas.microsoft.com/office/2011/relationships/chartStyle" Target="style1748.xml"/><Relationship Id="rId2" Type="http://schemas.microsoft.com/office/2011/relationships/chartColorStyle" Target="colors1748.xml"/><Relationship Id="rId3" Type="http://schemas.openxmlformats.org/officeDocument/2006/relationships/package" Target="../embeddings/Microsoft_Excel_Worksheet2209.xlsx"/></Relationships>
</file>

<file path=ppt/charts/_rels/chart2214.xml.rels><?xml version='1.0' encoding='UTF-8' standalone='yes'?>
<Relationships xmlns="http://schemas.openxmlformats.org/package/2006/relationships"><Relationship Id="rId1" Type="http://schemas.microsoft.com/office/2011/relationships/chartStyle" Target="style1752.xml"/><Relationship Id="rId2" Type="http://schemas.microsoft.com/office/2011/relationships/chartColorStyle" Target="colors1752.xml"/><Relationship Id="rId3" Type="http://schemas.openxmlformats.org/officeDocument/2006/relationships/package" Target="../embeddings/Microsoft_Excel_Worksheet2213.xlsx"/></Relationships>
</file>

<file path=ppt/charts/_rels/chart2217.xml.rels><?xml version='1.0' encoding='UTF-8' standalone='yes'?>
<Relationships xmlns="http://schemas.openxmlformats.org/package/2006/relationships"><Relationship Id="rId1" Type="http://schemas.microsoft.com/office/2011/relationships/chartStyle" Target="style1755.xml"/><Relationship Id="rId2" Type="http://schemas.microsoft.com/office/2011/relationships/chartColorStyle" Target="colors1755.xml"/><Relationship Id="rId3" Type="http://schemas.openxmlformats.org/officeDocument/2006/relationships/package" Target="../embeddings/Microsoft_Excel_Worksheet2216.xlsx"/></Relationships>
</file>

<file path=ppt/charts/_rels/chart2222.xml.rels><?xml version='1.0' encoding='UTF-8' standalone='yes'?>
<Relationships xmlns="http://schemas.openxmlformats.org/package/2006/relationships"><Relationship Id="rId1" Type="http://schemas.microsoft.com/office/2011/relationships/chartStyle" Target="style1760.xml"/><Relationship Id="rId2" Type="http://schemas.microsoft.com/office/2011/relationships/chartColorStyle" Target="colors1760.xml"/><Relationship Id="rId3" Type="http://schemas.openxmlformats.org/officeDocument/2006/relationships/package" Target="../embeddings/Microsoft_Excel_Worksheet2221.xlsx"/></Relationships>
</file>

<file path=ppt/charts/_rels/chart2223.xml.rels><?xml version='1.0' encoding='UTF-8' standalone='yes'?>
<Relationships xmlns="http://schemas.openxmlformats.org/package/2006/relationships"><Relationship Id="rId1" Type="http://schemas.microsoft.com/office/2011/relationships/chartStyle" Target="style1761.xml"/><Relationship Id="rId2" Type="http://schemas.microsoft.com/office/2011/relationships/chartColorStyle" Target="colors1761.xml"/><Relationship Id="rId3" Type="http://schemas.openxmlformats.org/officeDocument/2006/relationships/package" Target="../embeddings/Microsoft_Excel_Worksheet2222.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63.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465.xlsx"/></Relationships>
</file>

<file path=ppt/charts/_rels/chart475.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478.xlsx"/></Relationships>
</file>

<file path=ppt/charts/_rels/chart480.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479.xlsx"/></Relationships>
</file>

<file path=ppt/charts/_rels/chart485.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485.xlsx"/></Relationships>
</file>

<file path=ppt/charts/_rels/chart489.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488.xlsx"/></Relationships>
</file>

<file path=ppt/charts/_rels/chart490.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491.xlsx"/></Relationships>
</file>

<file path=ppt/charts/_rels/chart497.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497.xlsx"/></Relationships>
</file>

<file path=ppt/charts/_rels/chart507.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507.xlsx"/></Relationships>
</file>

<file path=ppt/charts/_rels/chart511.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511.xlsx"/></Relationships>
</file>

<file path=ppt/charts/_rels/chart519.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18.xlsx"/></Relationships>
</file>

<file path=ppt/charts/_rels/chart520.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523.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9.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541.xlsx"/></Relationships>
</file>

<file path=ppt/charts/_rels/chart547.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547.xlsx"/></Relationships>
</file>

<file path=ppt/charts/_rels/chart553.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555.xlsx"/></Relationships>
</file>

<file path=ppt/charts/_rels/chart561.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561.xlsx"/></Relationships>
</file>

<file path=ppt/charts/_rels/chart583.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585.xlsx"/></Relationships>
</file>

<file path=ppt/charts/_rels/chart597.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598.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599.xlsx"/></Relationships>
</file>

<file path=ppt/charts/_rels/chart605.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605.xlsx"/></Relationships>
</file>

<file path=ppt/charts/_rels/chart609.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613.xlsx"/></Relationships>
</file>

<file path=ppt/charts/_rels/chart619.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619.xlsx"/></Relationships>
</file>

<file path=ppt/charts/_rels/chart627.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627.xlsx"/></Relationships>
</file>

<file path=ppt/charts/_rels/chart631.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631.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1.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643.xlsx"/></Relationships>
</file>

<file path=ppt/charts/_rels/chart655.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657.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3.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663.xlsx"/></Relationships>
</file>

<file path=ppt/charts/_rels/chart669.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669.xlsx"/></Relationships>
</file>

<file path=ppt/charts/_rels/chart685.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689.xlsx"/></Relationships>
</file>

<file path=ppt/charts/_rels/chart699.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698.xlsx"/></Relationships>
</file>

<file path=ppt/charts/_rels/chart700.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701.xlsx"/></Relationships>
</file>

<file path=ppt/charts/_rels/chart707.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707.xlsx"/></Relationships>
</file>

<file path=ppt/charts/_rels/chart711.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713.xlsx"/></Relationships>
</file>

<file path=ppt/charts/_rels/chart731.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733.xlsx"/></Relationships>
</file>

<file path=ppt/charts/_rels/chart739.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738.xlsx"/></Relationships>
</file>

<file path=ppt/charts/_rels/chart740.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739.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3.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753.xlsx"/></Relationships>
</file>

<file path=ppt/charts/_rels/chart761.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763.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5.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777.xlsx"/></Relationships>
</file>

<file path=ppt/charts/_rels/chart783.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783.xlsx"/></Relationships>
</file>

<file path=ppt/charts/_rels/chart789.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788.xlsx"/></Relationships>
</file>

<file path=ppt/charts/_rels/chart790.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791.xlsx"/></Relationships>
</file>

<file path=ppt/charts/_rels/chart797.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797.xlsx"/></Relationships>
</file>

<file path=ppt/charts/_rels/chart805.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807.xlsx"/></Relationships>
</file>

<file path=ppt/charts/_rels/chart819.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821.xlsx"/></Relationships>
</file>

<file path=ppt/charts/_rels/chart827.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827.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3.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835.xlsx"/></Relationships>
</file>

<file path=ppt/charts/_rels/chart841.xml.rels><?xml version='1.0' encoding='UTF-8' standalone='yes'?>
<Relationships xmlns="http://schemas.openxmlformats.org/package/2006/relationships"><Relationship Id="rId1" Type="http://schemas.microsoft.com/office/2011/relationships/chartStyle" Target="style379.xml"/><Relationship Id="rId2" Type="http://schemas.microsoft.com/office/2011/relationships/chartColorStyle" Target="colors379.xml"/><Relationship Id="rId3"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841.xlsx"/></Relationships>
</file>

<file path=ppt/charts/_rels/chart863.xml.rels><?xml version='1.0' encoding='UTF-8' standalone='yes'?>
<Relationships xmlns="http://schemas.openxmlformats.org/package/2006/relationships"><Relationship Id="rId1" Type="http://schemas.microsoft.com/office/2011/relationships/chartStyle" Target="style401.xml"/><Relationship Id="rId2" Type="http://schemas.microsoft.com/office/2011/relationships/chartColorStyle" Target="colors401.xml"/><Relationship Id="rId3"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microsoft.com/office/2011/relationships/chartStyle" Target="style402.xml"/><Relationship Id="rId2" Type="http://schemas.microsoft.com/office/2011/relationships/chartColorStyle" Target="colors402.xml"/><Relationship Id="rId3"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microsoft.com/office/2011/relationships/chartStyle" Target="style404.xml"/><Relationship Id="rId2" Type="http://schemas.microsoft.com/office/2011/relationships/chartColorStyle" Target="colors404.xml"/><Relationship Id="rId3" Type="http://schemas.openxmlformats.org/officeDocument/2006/relationships/package" Target="../embeddings/Microsoft_Excel_Worksheet865.xlsx"/></Relationships>
</file>

<file path=ppt/charts/_rels/chart877.xml.rels><?xml version='1.0' encoding='UTF-8' standalone='yes'?>
<Relationships xmlns="http://schemas.openxmlformats.org/package/2006/relationships"><Relationship Id="rId1" Type="http://schemas.microsoft.com/office/2011/relationships/chartStyle" Target="style415.xml"/><Relationship Id="rId2" Type="http://schemas.microsoft.com/office/2011/relationships/chartColorStyle" Target="colors415.xml"/><Relationship Id="rId3"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microsoft.com/office/2011/relationships/chartStyle" Target="style416.xml"/><Relationship Id="rId2" Type="http://schemas.microsoft.com/office/2011/relationships/chartColorStyle" Target="colors416.xml"/><Relationship Id="rId3"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microsoft.com/office/2011/relationships/chartStyle" Target="style417.xml"/><Relationship Id="rId2" Type="http://schemas.microsoft.com/office/2011/relationships/chartColorStyle" Target="colors417.xml"/><Relationship Id="rId3"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879.xlsx"/></Relationships>
</file>

<file path=ppt/charts/_rels/chart885.xml.rels><?xml version='1.0' encoding='UTF-8' standalone='yes'?>
<Relationships xmlns="http://schemas.openxmlformats.org/package/2006/relationships"><Relationship Id="rId1" Type="http://schemas.microsoft.com/office/2011/relationships/chartStyle" Target="style423.xml"/><Relationship Id="rId2" Type="http://schemas.microsoft.com/office/2011/relationships/chartColorStyle" Target="colors423.xml"/><Relationship Id="rId3"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microsoft.com/office/2011/relationships/chartStyle" Target="style424.xml"/><Relationship Id="rId2" Type="http://schemas.microsoft.com/office/2011/relationships/chartColorStyle" Target="colors424.xml"/><Relationship Id="rId3" Type="http://schemas.openxmlformats.org/officeDocument/2006/relationships/package" Target="../embeddings/Microsoft_Excel_Worksheet885.xlsx"/></Relationships>
</file>

<file path=ppt/charts/_rels/chart889.xml.rels><?xml version='1.0' encoding='UTF-8' standalone='yes'?>
<Relationships xmlns="http://schemas.openxmlformats.org/package/2006/relationships"><Relationship Id="rId1" Type="http://schemas.microsoft.com/office/2011/relationships/chartStyle" Target="style427.xml"/><Relationship Id="rId2" Type="http://schemas.microsoft.com/office/2011/relationships/chartColorStyle" Target="colors427.xml"/><Relationship Id="rId3"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microsoft.com/office/2011/relationships/chartStyle" Target="style428.xml"/><Relationship Id="rId2" Type="http://schemas.microsoft.com/office/2011/relationships/chartColorStyle" Target="colors428.xml"/><Relationship Id="rId3"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microsoft.com/office/2011/relationships/chartStyle" Target="style429.xml"/><Relationship Id="rId2" Type="http://schemas.microsoft.com/office/2011/relationships/chartColorStyle" Target="colors429.xml"/><Relationship Id="rId3"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microsoft.com/office/2011/relationships/chartStyle" Target="style430.xml"/><Relationship Id="rId2" Type="http://schemas.microsoft.com/office/2011/relationships/chartColorStyle" Target="colors430.xml"/><Relationship Id="rId3"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microsoft.com/office/2011/relationships/chartStyle" Target="style431.xml"/><Relationship Id="rId2" Type="http://schemas.microsoft.com/office/2011/relationships/chartColorStyle" Target="colors431.xml"/><Relationship Id="rId3"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microsoft.com/office/2011/relationships/chartStyle" Target="style432.xml"/><Relationship Id="rId2" Type="http://schemas.microsoft.com/office/2011/relationships/chartColorStyle" Target="colors432.xml"/><Relationship Id="rId3" Type="http://schemas.openxmlformats.org/officeDocument/2006/relationships/package" Target="../embeddings/Microsoft_Excel_Worksheet893.xlsx"/></Relationships>
</file>

<file path=ppt/charts/_rels/chart899.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0.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899.xlsx"/></Relationships>
</file>

<file path=ppt/charts/_rels/chart907.xml.rels><?xml version='1.0' encoding='UTF-8' standalone='yes'?>
<Relationships xmlns="http://schemas.openxmlformats.org/package/2006/relationships"><Relationship Id="rId1" Type="http://schemas.microsoft.com/office/2011/relationships/chartStyle" Target="style445.xml"/><Relationship Id="rId2" Type="http://schemas.microsoft.com/office/2011/relationships/chartColorStyle" Target="colors445.xml"/><Relationship Id="rId3"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microsoft.com/office/2011/relationships/chartStyle" Target="style446.xml"/><Relationship Id="rId2" Type="http://schemas.microsoft.com/office/2011/relationships/chartColorStyle" Target="colors446.xml"/><Relationship Id="rId3" Type="http://schemas.openxmlformats.org/officeDocument/2006/relationships/package" Target="../embeddings/Microsoft_Excel_Worksheet907.xlsx"/></Relationships>
</file>

<file path=ppt/charts/_rels/chart911.xml.rels><?xml version='1.0' encoding='UTF-8' standalone='yes'?>
<Relationships xmlns="http://schemas.openxmlformats.org/package/2006/relationships"><Relationship Id="rId1" Type="http://schemas.microsoft.com/office/2011/relationships/chartStyle" Target="style449.xml"/><Relationship Id="rId2" Type="http://schemas.microsoft.com/office/2011/relationships/chartColorStyle" Target="colors449.xml"/><Relationship Id="rId3"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microsoft.com/office/2011/relationships/chartStyle" Target="style450.xml"/><Relationship Id="rId2" Type="http://schemas.microsoft.com/office/2011/relationships/chartColorStyle" Target="colors450.xml"/><Relationship Id="rId3" Type="http://schemas.openxmlformats.org/officeDocument/2006/relationships/package" Target="../embeddings/Microsoft_Excel_Worksheet911.xlsx"/></Relationships>
</file>

<file path=ppt/charts/_rels/chart921.xml.rels><?xml version='1.0' encoding='UTF-8' standalone='yes'?>
<Relationships xmlns="http://schemas.openxmlformats.org/package/2006/relationships"><Relationship Id="rId1" Type="http://schemas.microsoft.com/office/2011/relationships/chartStyle" Target="style459.xml"/><Relationship Id="rId2" Type="http://schemas.microsoft.com/office/2011/relationships/chartColorStyle" Target="colors459.xml"/><Relationship Id="rId3"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microsoft.com/office/2011/relationships/chartStyle" Target="style460.xml"/><Relationship Id="rId2" Type="http://schemas.microsoft.com/office/2011/relationships/chartColorStyle" Target="colors460.xml"/><Relationship Id="rId3"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microsoft.com/office/2011/relationships/chartStyle" Target="style461.xml"/><Relationship Id="rId2" Type="http://schemas.microsoft.com/office/2011/relationships/chartColorStyle" Target="colors461.xml"/><Relationship Id="rId3"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microsoft.com/office/2011/relationships/chartStyle" Target="style462.xml"/><Relationship Id="rId2" Type="http://schemas.microsoft.com/office/2011/relationships/chartColorStyle" Target="colors462.xml"/><Relationship Id="rId3" Type="http://schemas.openxmlformats.org/officeDocument/2006/relationships/package" Target="../embeddings/Microsoft_Excel_Worksheet923.xlsx"/></Relationships>
</file>

<file path=ppt/charts/_rels/chart931.xml.rels><?xml version='1.0' encoding='UTF-8' standalone='yes'?>
<Relationships xmlns="http://schemas.openxmlformats.org/package/2006/relationships"><Relationship Id="rId1" Type="http://schemas.microsoft.com/office/2011/relationships/chartStyle" Target="style469.xml"/><Relationship Id="rId2" Type="http://schemas.microsoft.com/office/2011/relationships/chartColorStyle" Target="colors469.xml"/><Relationship Id="rId3"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931.xlsx"/></Relationships>
</file>

<file path=ppt/charts/_rels/chart939.xml.rels><?xml version='1.0' encoding='UTF-8' standalone='yes'?>
<Relationships xmlns="http://schemas.openxmlformats.org/package/2006/relationships"><Relationship Id="rId1" Type="http://schemas.microsoft.com/office/2011/relationships/chartStyle" Target="style477.xml"/><Relationship Id="rId2" Type="http://schemas.microsoft.com/office/2011/relationships/chartColorStyle" Target="colors477.xml"/><Relationship Id="rId3"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microsoft.com/office/2011/relationships/chartStyle" Target="style478.xml"/><Relationship Id="rId2" Type="http://schemas.microsoft.com/office/2011/relationships/chartColorStyle" Target="colors478.xml"/><Relationship Id="rId3"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microsoft.com/office/2011/relationships/chartStyle" Target="style479.xml"/><Relationship Id="rId2" Type="http://schemas.microsoft.com/office/2011/relationships/chartColorStyle" Target="colors479.xml"/><Relationship Id="rId3"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microsoft.com/office/2011/relationships/chartStyle" Target="style480.xml"/><Relationship Id="rId2" Type="http://schemas.microsoft.com/office/2011/relationships/chartColorStyle" Target="colors480.xml"/><Relationship Id="rId3"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microsoft.com/office/2011/relationships/chartStyle" Target="style481.xml"/><Relationship Id="rId2" Type="http://schemas.microsoft.com/office/2011/relationships/chartColorStyle" Target="colors481.xml"/><Relationship Id="rId3"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microsoft.com/office/2011/relationships/chartStyle" Target="style482.xml"/><Relationship Id="rId2" Type="http://schemas.microsoft.com/office/2011/relationships/chartColorStyle" Target="colors482.xml"/><Relationship Id="rId3" Type="http://schemas.openxmlformats.org/officeDocument/2006/relationships/package" Target="../embeddings/Microsoft_Excel_Worksheet943.xlsx"/></Relationships>
</file>

<file path=ppt/charts/_rels/chart953.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microsoft.com/office/2011/relationships/chartStyle" Target="style494.xml"/><Relationship Id="rId2" Type="http://schemas.microsoft.com/office/2011/relationships/chartColorStyle" Target="colors494.xml"/><Relationship Id="rId3" Type="http://schemas.openxmlformats.org/officeDocument/2006/relationships/package" Target="../embeddings/Microsoft_Excel_Worksheet955.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1.xml.rels><?xml version='1.0' encoding='UTF-8' standalone='yes'?>
<Relationships xmlns="http://schemas.openxmlformats.org/package/2006/relationships"><Relationship Id="rId1" Type="http://schemas.microsoft.com/office/2011/relationships/chartStyle" Target="style499.xml"/><Relationship Id="rId2" Type="http://schemas.microsoft.com/office/2011/relationships/chartColorStyle" Target="colors499.xml"/><Relationship Id="rId3"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microsoft.com/office/2011/relationships/chartStyle" Target="style500.xml"/><Relationship Id="rId2" Type="http://schemas.microsoft.com/office/2011/relationships/chartColorStyle" Target="colors500.xml"/><Relationship Id="rId3" Type="http://schemas.openxmlformats.org/officeDocument/2006/relationships/package" Target="../embeddings/Microsoft_Excel_Worksheet961.xlsx"/></Relationships>
</file>

<file path=ppt/charts/_rels/chart969.xml.rels><?xml version='1.0' encoding='UTF-8' standalone='yes'?>
<Relationships xmlns="http://schemas.openxmlformats.org/package/2006/relationships"><Relationship Id="rId1" Type="http://schemas.microsoft.com/office/2011/relationships/chartStyle" Target="style507.xml"/><Relationship Id="rId2" Type="http://schemas.microsoft.com/office/2011/relationships/chartColorStyle" Target="colors507.xml"/><Relationship Id="rId3" Type="http://schemas.openxmlformats.org/officeDocument/2006/relationships/package" Target="../embeddings/Microsoft_Excel_Worksheet968.xlsx"/></Relationships>
</file>

<file path=ppt/charts/_rels/chart970.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969.xlsx"/></Relationships>
</file>

<file path=ppt/charts/_rels/chart975.xml.rels><?xml version='1.0' encoding='UTF-8' standalone='yes'?>
<Relationships xmlns="http://schemas.openxmlformats.org/package/2006/relationships"><Relationship Id="rId1" Type="http://schemas.microsoft.com/office/2011/relationships/chartStyle" Target="style513.xml"/><Relationship Id="rId2" Type="http://schemas.microsoft.com/office/2011/relationships/chartColorStyle" Target="colors513.xml"/><Relationship Id="rId3"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microsoft.com/office/2011/relationships/chartStyle" Target="style514.xml"/><Relationship Id="rId2" Type="http://schemas.microsoft.com/office/2011/relationships/chartColorStyle" Target="colors514.xml"/><Relationship Id="rId3" Type="http://schemas.openxmlformats.org/officeDocument/2006/relationships/package" Target="../embeddings/Microsoft_Excel_Worksheet975.xlsx"/></Relationships>
</file>

<file path=ppt/charts/_rels/chart985.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microsoft.com/office/2011/relationships/chartStyle" Target="style525.xml"/><Relationship Id="rId2" Type="http://schemas.microsoft.com/office/2011/relationships/chartColorStyle" Target="colors525.xml"/><Relationship Id="rId3"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microsoft.com/office/2011/relationships/chartStyle" Target="style526.xml"/><Relationship Id="rId2" Type="http://schemas.microsoft.com/office/2011/relationships/chartColorStyle" Target="colors526.xml"/><Relationship Id="rId3" Type="http://schemas.openxmlformats.org/officeDocument/2006/relationships/package" Target="../embeddings/Microsoft_Excel_Worksheet987.xlsx"/></Relationships>
</file>

<file path=ppt/charts/_rels/chart997.xml.rels><?xml version='1.0' encoding='UTF-8' standalone='yes'?>
<Relationships xmlns="http://schemas.openxmlformats.org/package/2006/relationships"><Relationship Id="rId1" Type="http://schemas.microsoft.com/office/2011/relationships/chartStyle" Target="style535.xml"/><Relationship Id="rId2" Type="http://schemas.microsoft.com/office/2011/relationships/chartColorStyle" Target="colors535.xml"/><Relationship Id="rId3"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microsoft.com/office/2011/relationships/chartStyle" Target="style536.xml"/><Relationship Id="rId2" Type="http://schemas.microsoft.com/office/2011/relationships/chartColorStyle" Target="colors536.xml"/><Relationship Id="rId3"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998.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66,6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72,6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54,3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66605</c:v>
                </c:pt>
                <c:pt idx="1">
                  <c:v>645038</c:v>
                </c:pt>
                <c:pt idx="2">
                  <c:v>450964</c:v>
                </c:pt>
                <c:pt idx="3">
                  <c:v>669854</c:v>
                </c:pt>
                <c:pt idx="4">
                  <c:v>655914</c:v>
                </c:pt>
                <c:pt idx="5">
                  <c:v>880492</c:v>
                </c:pt>
                <c:pt idx="6">
                  <c:v>1993826</c:v>
                </c:pt>
                <c:pt idx="7">
                  <c:v>980201</c:v>
                </c:pt>
                <c:pt idx="8">
                  <c:v>501192</c:v>
                </c:pt>
                <c:pt idx="9">
                  <c:v>601468</c:v>
                </c:pt>
                <c:pt idx="10">
                  <c:v>502141</c:v>
                </c:pt>
                <c:pt idx="11">
                  <c:v>637071</c:v>
                </c:pt>
                <c:pt idx="12">
                  <c:v>687127</c:v>
                </c:pt>
                <c:pt idx="13">
                  <c:v>572679</c:v>
                </c:pt>
                <c:pt idx="14">
                  <c:v>419545</c:v>
                </c:pt>
                <c:pt idx="15">
                  <c:v>614571</c:v>
                </c:pt>
                <c:pt idx="16">
                  <c:v>712073</c:v>
                </c:pt>
                <c:pt idx="17">
                  <c:v>794497</c:v>
                </c:pt>
                <c:pt idx="18">
                  <c:v>1646616</c:v>
                </c:pt>
                <c:pt idx="19">
                  <c:v>579877</c:v>
                </c:pt>
                <c:pt idx="20">
                  <c:v>463278</c:v>
                </c:pt>
                <c:pt idx="21">
                  <c:v>554113</c:v>
                </c:pt>
                <c:pt idx="22">
                  <c:v>510888</c:v>
                </c:pt>
                <c:pt idx="23">
                  <c:v>616944</c:v>
                </c:pt>
                <c:pt idx="24">
                  <c:v>65431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9.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1.1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9.8</c:v>
                </c:pt>
                <c:pt idx="1">
                  <c:v>50.77</c:v>
                </c:pt>
                <c:pt idx="2">
                  <c:v>50.7</c:v>
                </c:pt>
                <c:pt idx="3">
                  <c:v>49.2</c:v>
                </c:pt>
                <c:pt idx="4">
                  <c:v>49.82</c:v>
                </c:pt>
                <c:pt idx="5">
                  <c:v>50.85</c:v>
                </c:pt>
                <c:pt idx="6">
                  <c:v>52.94</c:v>
                </c:pt>
                <c:pt idx="7">
                  <c:v>50.56</c:v>
                </c:pt>
                <c:pt idx="8">
                  <c:v>50.11</c:v>
                </c:pt>
                <c:pt idx="9">
                  <c:v>49.35</c:v>
                </c:pt>
                <c:pt idx="10">
                  <c:v>48.7</c:v>
                </c:pt>
                <c:pt idx="11">
                  <c:v>50.2</c:v>
                </c:pt>
                <c:pt idx="12">
                  <c:v>50.95</c:v>
                </c:pt>
                <c:pt idx="13">
                  <c:v>48.81</c:v>
                </c:pt>
                <c:pt idx="14">
                  <c:v>49.64</c:v>
                </c:pt>
                <c:pt idx="15">
                  <c:v>48.81</c:v>
                </c:pt>
                <c:pt idx="16">
                  <c:v>49.12</c:v>
                </c:pt>
                <c:pt idx="17">
                  <c:v>51.66</c:v>
                </c:pt>
                <c:pt idx="18">
                  <c:v>53.19</c:v>
                </c:pt>
                <c:pt idx="19">
                  <c:v>50.6</c:v>
                </c:pt>
                <c:pt idx="20">
                  <c:v>49.43</c:v>
                </c:pt>
                <c:pt idx="21">
                  <c:v>48.18</c:v>
                </c:pt>
                <c:pt idx="22">
                  <c:v>48.82</c:v>
                </c:pt>
                <c:pt idx="23">
                  <c:v>48.12</c:v>
                </c:pt>
                <c:pt idx="24">
                  <c:v>51.1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5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235</c:v>
                </c:pt>
                <c:pt idx="1">
                  <c:v>1209</c:v>
                </c:pt>
                <c:pt idx="2">
                  <c:v>1781</c:v>
                </c:pt>
                <c:pt idx="3">
                  <c:v>1540</c:v>
                </c:pt>
                <c:pt idx="4">
                  <c:v>888</c:v>
                </c:pt>
                <c:pt idx="5">
                  <c:v>460</c:v>
                </c:pt>
                <c:pt idx="6">
                  <c:v>4422</c:v>
                </c:pt>
                <c:pt idx="7">
                  <c:v>3960</c:v>
                </c:pt>
                <c:pt idx="8">
                  <c:v>1516</c:v>
                </c:pt>
                <c:pt idx="9">
                  <c:v>2418</c:v>
                </c:pt>
                <c:pt idx="10">
                  <c:v>2301</c:v>
                </c:pt>
                <c:pt idx="11">
                  <c:v>3026</c:v>
                </c:pt>
                <c:pt idx="12">
                  <c:v>3477</c:v>
                </c:pt>
                <c:pt idx="13">
                  <c:v>4185</c:v>
                </c:pt>
                <c:pt idx="14">
                  <c:v>4517</c:v>
                </c:pt>
                <c:pt idx="15">
                  <c:v>3208</c:v>
                </c:pt>
                <c:pt idx="16">
                  <c:v>2425</c:v>
                </c:pt>
                <c:pt idx="17">
                  <c:v>2796</c:v>
                </c:pt>
                <c:pt idx="18">
                  <c:v>8162</c:v>
                </c:pt>
                <c:pt idx="19">
                  <c:v>4911</c:v>
                </c:pt>
                <c:pt idx="20">
                  <c:v>3347</c:v>
                </c:pt>
                <c:pt idx="21">
                  <c:v>3750</c:v>
                </c:pt>
                <c:pt idx="22">
                  <c:v>4280</c:v>
                </c:pt>
                <c:pt idx="23">
                  <c:v>5273</c:v>
                </c:pt>
                <c:pt idx="24">
                  <c:v>65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8.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3.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6.1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8.43</c:v>
                </c:pt>
                <c:pt idx="1">
                  <c:v>18.04</c:v>
                </c:pt>
                <c:pt idx="2">
                  <c:v>18.17</c:v>
                </c:pt>
                <c:pt idx="3">
                  <c:v>18.78</c:v>
                </c:pt>
                <c:pt idx="4">
                  <c:v>18.12</c:v>
                </c:pt>
                <c:pt idx="5">
                  <c:v>20.91</c:v>
                </c:pt>
                <c:pt idx="6">
                  <c:v>19.14</c:v>
                </c:pt>
                <c:pt idx="7">
                  <c:v>19.41</c:v>
                </c:pt>
                <c:pt idx="8">
                  <c:v>18.72</c:v>
                </c:pt>
                <c:pt idx="9">
                  <c:v>22.81</c:v>
                </c:pt>
                <c:pt idx="10">
                  <c:v>24.22</c:v>
                </c:pt>
                <c:pt idx="11">
                  <c:v>24.21</c:v>
                </c:pt>
                <c:pt idx="12">
                  <c:v>23.18</c:v>
                </c:pt>
                <c:pt idx="13">
                  <c:v>23.78</c:v>
                </c:pt>
                <c:pt idx="14">
                  <c:v>24.55</c:v>
                </c:pt>
                <c:pt idx="15">
                  <c:v>23.42</c:v>
                </c:pt>
                <c:pt idx="16">
                  <c:v>21.46</c:v>
                </c:pt>
                <c:pt idx="17">
                  <c:v>22.73</c:v>
                </c:pt>
                <c:pt idx="18">
                  <c:v>23.12</c:v>
                </c:pt>
                <c:pt idx="19">
                  <c:v>20.04</c:v>
                </c:pt>
                <c:pt idx="20">
                  <c:v>23.57</c:v>
                </c:pt>
                <c:pt idx="21">
                  <c:v>23.73</c:v>
                </c:pt>
                <c:pt idx="22">
                  <c:v>26.92</c:v>
                </c:pt>
                <c:pt idx="23">
                  <c:v>24.53</c:v>
                </c:pt>
                <c:pt idx="24">
                  <c:v>26.1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34421523883563</c:v>
                </c:pt>
                <c:pt idx="2">
                  <c:v>0.99310525729228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8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1.0</c:v>
                </c:pt>
                <c:pt idx="2">
                  <c:v>9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94484205833824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54</c:v>
                </c:pt>
                <c:pt idx="1">
                  <c:v>1087</c:v>
                </c:pt>
                <c:pt idx="2">
                  <c:v>879</c:v>
                </c:pt>
                <c:pt idx="3">
                  <c:v>686</c:v>
                </c:pt>
                <c:pt idx="4">
                  <c:v>791</c:v>
                </c:pt>
                <c:pt idx="5">
                  <c:v>949</c:v>
                </c:pt>
                <c:pt idx="6">
                  <c:v>4970</c:v>
                </c:pt>
                <c:pt idx="7">
                  <c:v>3305</c:v>
                </c:pt>
                <c:pt idx="8">
                  <c:v>2654</c:v>
                </c:pt>
                <c:pt idx="9">
                  <c:v>2367</c:v>
                </c:pt>
                <c:pt idx="10">
                  <c:v>1384</c:v>
                </c:pt>
                <c:pt idx="11">
                  <c:v>2116</c:v>
                </c:pt>
                <c:pt idx="12">
                  <c:v>1806</c:v>
                </c:pt>
                <c:pt idx="13">
                  <c:v>2295</c:v>
                </c:pt>
                <c:pt idx="14">
                  <c:v>1431</c:v>
                </c:pt>
                <c:pt idx="15">
                  <c:v>1802</c:v>
                </c:pt>
                <c:pt idx="16">
                  <c:v>1853</c:v>
                </c:pt>
                <c:pt idx="17">
                  <c:v>2659</c:v>
                </c:pt>
                <c:pt idx="18">
                  <c:v>8643</c:v>
                </c:pt>
                <c:pt idx="19">
                  <c:v>4490</c:v>
                </c:pt>
                <c:pt idx="20">
                  <c:v>3623</c:v>
                </c:pt>
                <c:pt idx="21">
                  <c:v>2975</c:v>
                </c:pt>
                <c:pt idx="22">
                  <c:v>2521</c:v>
                </c:pt>
                <c:pt idx="23">
                  <c:v>3542</c:v>
                </c:pt>
                <c:pt idx="24">
                  <c:v>338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7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6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3.0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75</c:v>
                </c:pt>
                <c:pt idx="1">
                  <c:v>17.82</c:v>
                </c:pt>
                <c:pt idx="2">
                  <c:v>17.58</c:v>
                </c:pt>
                <c:pt idx="3">
                  <c:v>18.05</c:v>
                </c:pt>
                <c:pt idx="4">
                  <c:v>17.98</c:v>
                </c:pt>
                <c:pt idx="5">
                  <c:v>19.37</c:v>
                </c:pt>
                <c:pt idx="6">
                  <c:v>19.96</c:v>
                </c:pt>
                <c:pt idx="7">
                  <c:v>18.78</c:v>
                </c:pt>
                <c:pt idx="8">
                  <c:v>23.7</c:v>
                </c:pt>
                <c:pt idx="9">
                  <c:v>22.54</c:v>
                </c:pt>
                <c:pt idx="10">
                  <c:v>20.97</c:v>
                </c:pt>
                <c:pt idx="11">
                  <c:v>23.78</c:v>
                </c:pt>
                <c:pt idx="12">
                  <c:v>20.76</c:v>
                </c:pt>
                <c:pt idx="13">
                  <c:v>20.68</c:v>
                </c:pt>
                <c:pt idx="14">
                  <c:v>23.08</c:v>
                </c:pt>
                <c:pt idx="15">
                  <c:v>23.4</c:v>
                </c:pt>
                <c:pt idx="16">
                  <c:v>22.06</c:v>
                </c:pt>
                <c:pt idx="17">
                  <c:v>21.44</c:v>
                </c:pt>
                <c:pt idx="18">
                  <c:v>25.35</c:v>
                </c:pt>
                <c:pt idx="19">
                  <c:v>21.48</c:v>
                </c:pt>
                <c:pt idx="20">
                  <c:v>24.32</c:v>
                </c:pt>
                <c:pt idx="21">
                  <c:v>22.04</c:v>
                </c:pt>
                <c:pt idx="22">
                  <c:v>22.31</c:v>
                </c:pt>
                <c:pt idx="23">
                  <c:v>27.04</c:v>
                </c:pt>
                <c:pt idx="24">
                  <c:v>2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10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7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0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4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28979325999554</c:v>
                </c:pt>
                <c:pt idx="2">
                  <c:v>0.98311014133508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8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86488113068067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3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12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8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2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9360191909567</c:v>
                </c:pt>
                <c:pt idx="2">
                  <c:v>0.994095434978087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9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7952763479824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3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4.0</c:v>
                </c:pt>
                <c:pt idx="2">
                  <c:v>7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8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2.0</c:v>
                </c:pt>
                <c:pt idx="2">
                  <c:v>15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03536528617962</c:v>
                </c:pt>
                <c:pt idx="2">
                  <c:v>1.004960676513336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4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4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8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8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1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69018871494802</c:v>
                </c:pt>
                <c:pt idx="2">
                  <c:v>1.00447297366141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8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oillar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9.0</c:v>
                </c:pt>
                <c:pt idx="2">
                  <c:v>14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ouis Bouillo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Veuve Amba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ouvent Des Visitandine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8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68061724487902</c:v>
                </c:pt>
                <c:pt idx="2">
                  <c:v>1.035925921884037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oillar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ouis Bouillo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Veuve Amba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ouvent Des Visitandine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17393958618872</c:v>
                </c:pt>
                <c:pt idx="2">
                  <c:v>1.089190272981368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785391516689509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521658845253637</c:v>
                </c:pt>
                <c:pt idx="2">
                  <c:v>1.0624889735718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6173270762029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6.0</c:v>
                </c:pt>
                <c:pt idx="2">
                  <c:v>1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762124285450856</c:v>
                </c:pt>
                <c:pt idx="2">
                  <c:v>1.027386161076000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80969942836068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6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56538020024432</c:v>
                </c:pt>
                <c:pt idx="2">
                  <c:v>1.114038587853972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1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796523041601954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10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4.0</c:v>
                </c:pt>
                <c:pt idx="2">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6</c:v>
                </c:pt>
                <c:pt idx="1">
                  <c:v>143</c:v>
                </c:pt>
                <c:pt idx="2">
                  <c:v>241</c:v>
                </c:pt>
                <c:pt idx="3">
                  <c:v>122</c:v>
                </c:pt>
                <c:pt idx="4">
                  <c:v>131</c:v>
                </c:pt>
                <c:pt idx="5">
                  <c:v>307</c:v>
                </c:pt>
                <c:pt idx="6">
                  <c:v>1388</c:v>
                </c:pt>
                <c:pt idx="7">
                  <c:v>862</c:v>
                </c:pt>
                <c:pt idx="8">
                  <c:v>370</c:v>
                </c:pt>
                <c:pt idx="9">
                  <c:v>454</c:v>
                </c:pt>
                <c:pt idx="10">
                  <c:v>418</c:v>
                </c:pt>
                <c:pt idx="11">
                  <c:v>358</c:v>
                </c:pt>
                <c:pt idx="12">
                  <c:v>534</c:v>
                </c:pt>
                <c:pt idx="13">
                  <c:v>412</c:v>
                </c:pt>
                <c:pt idx="14">
                  <c:v>354</c:v>
                </c:pt>
                <c:pt idx="15">
                  <c:v>373</c:v>
                </c:pt>
                <c:pt idx="16">
                  <c:v>498</c:v>
                </c:pt>
                <c:pt idx="17">
                  <c:v>324</c:v>
                </c:pt>
                <c:pt idx="18">
                  <c:v>1837</c:v>
                </c:pt>
                <c:pt idx="19">
                  <c:v>755</c:v>
                </c:pt>
                <c:pt idx="20">
                  <c:v>540</c:v>
                </c:pt>
                <c:pt idx="21">
                  <c:v>889</c:v>
                </c:pt>
                <c:pt idx="22">
                  <c:v>837</c:v>
                </c:pt>
                <c:pt idx="23">
                  <c:v>749</c:v>
                </c:pt>
                <c:pt idx="24">
                  <c:v>60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7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2.4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71</c:v>
                </c:pt>
                <c:pt idx="1">
                  <c:v>14.3</c:v>
                </c:pt>
                <c:pt idx="2">
                  <c:v>15.06</c:v>
                </c:pt>
                <c:pt idx="3">
                  <c:v>13.56</c:v>
                </c:pt>
                <c:pt idx="4">
                  <c:v>18.71</c:v>
                </c:pt>
                <c:pt idx="5">
                  <c:v>20.47</c:v>
                </c:pt>
                <c:pt idx="6">
                  <c:v>22.75</c:v>
                </c:pt>
                <c:pt idx="7">
                  <c:v>16.58</c:v>
                </c:pt>
                <c:pt idx="8">
                  <c:v>18.5</c:v>
                </c:pt>
                <c:pt idx="9">
                  <c:v>18.16</c:v>
                </c:pt>
                <c:pt idx="10">
                  <c:v>20.9</c:v>
                </c:pt>
                <c:pt idx="11">
                  <c:v>21.06</c:v>
                </c:pt>
                <c:pt idx="12">
                  <c:v>16.69</c:v>
                </c:pt>
                <c:pt idx="13">
                  <c:v>15.85</c:v>
                </c:pt>
                <c:pt idx="14">
                  <c:v>14.75</c:v>
                </c:pt>
                <c:pt idx="15">
                  <c:v>16.95</c:v>
                </c:pt>
                <c:pt idx="16">
                  <c:v>22.64</c:v>
                </c:pt>
                <c:pt idx="17">
                  <c:v>18.0</c:v>
                </c:pt>
                <c:pt idx="18">
                  <c:v>20.64</c:v>
                </c:pt>
                <c:pt idx="19">
                  <c:v>14.52</c:v>
                </c:pt>
                <c:pt idx="20">
                  <c:v>20.0</c:v>
                </c:pt>
                <c:pt idx="21">
                  <c:v>22.22</c:v>
                </c:pt>
                <c:pt idx="22">
                  <c:v>21.46</c:v>
                </c:pt>
                <c:pt idx="23">
                  <c:v>21.4</c:v>
                </c:pt>
                <c:pt idx="24">
                  <c:v>22.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611698162325906</c:v>
                </c:pt>
                <c:pt idx="2">
                  <c:v>1.086588410701818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6893585298607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8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4.0</c:v>
                </c:pt>
                <c:pt idx="2">
                  <c:v>14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5796360464272</c:v>
                </c:pt>
                <c:pt idx="2">
                  <c:v>1.09978434175773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793263708837141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8.0</c:v>
                </c:pt>
                <c:pt idx="2">
                  <c:v>6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57989850228988</c:v>
                </c:pt>
                <c:pt idx="2">
                  <c:v>1.107148161901225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4</c:v>
                </c:pt>
                <c:pt idx="1">
                  <c:v>130</c:v>
                </c:pt>
                <c:pt idx="2">
                  <c:v>151</c:v>
                </c:pt>
                <c:pt idx="3">
                  <c:v>222</c:v>
                </c:pt>
                <c:pt idx="4">
                  <c:v>183</c:v>
                </c:pt>
                <c:pt idx="5">
                  <c:v>98</c:v>
                </c:pt>
                <c:pt idx="6">
                  <c:v>761</c:v>
                </c:pt>
                <c:pt idx="7">
                  <c:v>801</c:v>
                </c:pt>
                <c:pt idx="8">
                  <c:v>361</c:v>
                </c:pt>
                <c:pt idx="9">
                  <c:v>313</c:v>
                </c:pt>
                <c:pt idx="10">
                  <c:v>217</c:v>
                </c:pt>
                <c:pt idx="11">
                  <c:v>333</c:v>
                </c:pt>
                <c:pt idx="12">
                  <c:v>464</c:v>
                </c:pt>
                <c:pt idx="13">
                  <c:v>708</c:v>
                </c:pt>
                <c:pt idx="14">
                  <c:v>196</c:v>
                </c:pt>
                <c:pt idx="15">
                  <c:v>146</c:v>
                </c:pt>
                <c:pt idx="16">
                  <c:v>479</c:v>
                </c:pt>
                <c:pt idx="17">
                  <c:v>477</c:v>
                </c:pt>
                <c:pt idx="18">
                  <c:v>1355</c:v>
                </c:pt>
                <c:pt idx="19">
                  <c:v>820</c:v>
                </c:pt>
                <c:pt idx="20">
                  <c:v>564</c:v>
                </c:pt>
                <c:pt idx="21">
                  <c:v>883</c:v>
                </c:pt>
                <c:pt idx="22">
                  <c:v>1117</c:v>
                </c:pt>
                <c:pt idx="23">
                  <c:v>887</c:v>
                </c:pt>
                <c:pt idx="24">
                  <c:v>8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8.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8.0</c:v>
                </c:pt>
                <c:pt idx="1">
                  <c:v>11.82</c:v>
                </c:pt>
                <c:pt idx="2">
                  <c:v>16.78</c:v>
                </c:pt>
                <c:pt idx="3">
                  <c:v>18.5</c:v>
                </c:pt>
                <c:pt idx="4">
                  <c:v>22.88</c:v>
                </c:pt>
                <c:pt idx="5">
                  <c:v>24.5</c:v>
                </c:pt>
                <c:pt idx="6">
                  <c:v>17.3</c:v>
                </c:pt>
                <c:pt idx="7">
                  <c:v>18.63</c:v>
                </c:pt>
                <c:pt idx="8">
                  <c:v>21.24</c:v>
                </c:pt>
                <c:pt idx="9">
                  <c:v>22.36</c:v>
                </c:pt>
                <c:pt idx="10">
                  <c:v>19.73</c:v>
                </c:pt>
                <c:pt idx="11">
                  <c:v>18.5</c:v>
                </c:pt>
                <c:pt idx="12">
                  <c:v>20.17</c:v>
                </c:pt>
                <c:pt idx="13">
                  <c:v>29.5</c:v>
                </c:pt>
                <c:pt idx="14">
                  <c:v>19.6</c:v>
                </c:pt>
                <c:pt idx="15">
                  <c:v>16.22</c:v>
                </c:pt>
                <c:pt idx="16">
                  <c:v>22.81</c:v>
                </c:pt>
                <c:pt idx="17">
                  <c:v>23.85</c:v>
                </c:pt>
                <c:pt idx="18">
                  <c:v>22.21</c:v>
                </c:pt>
                <c:pt idx="19">
                  <c:v>18.64</c:v>
                </c:pt>
                <c:pt idx="20">
                  <c:v>22.56</c:v>
                </c:pt>
                <c:pt idx="21">
                  <c:v>20.53</c:v>
                </c:pt>
                <c:pt idx="22">
                  <c:v>20.31</c:v>
                </c:pt>
                <c:pt idx="23">
                  <c:v>21.63</c:v>
                </c:pt>
                <c:pt idx="24">
                  <c:v>19.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9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0.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33108045119791</c:v>
                </c:pt>
                <c:pt idx="2">
                  <c:v>1.03333294490537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9.0</c:v>
                </c:pt>
                <c:pt idx="2">
                  <c:v>9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46648643609583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10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54.0</c:v>
                </c:pt>
                <c:pt idx="2">
                  <c:v>12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98197900708605</c:v>
                </c:pt>
                <c:pt idx="2">
                  <c:v>1.02157755414688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atriarch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ionett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st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erlin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ar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7224880382777</c:v>
                </c:pt>
                <c:pt idx="2">
                  <c:v>0.98382775119617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ionett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st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erlin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ar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787062200956937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8.0</c:v>
                </c:pt>
                <c:pt idx="2">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1.0</c:v>
                </c:pt>
                <c:pt idx="2">
                  <c:v>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281731100751024</c:v>
                </c:pt>
                <c:pt idx="2">
                  <c:v>0.93714491298025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9.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42538488060081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1.0</c:v>
                </c:pt>
                <c:pt idx="2">
                  <c:v>1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9.0</c:v>
                </c:pt>
                <c:pt idx="2">
                  <c:v>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12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189405319761141</c:v>
                </c:pt>
                <c:pt idx="2">
                  <c:v>0.93441103712173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35152425580891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6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565</c:v>
                </c:pt>
                <c:pt idx="1">
                  <c:v>3955</c:v>
                </c:pt>
                <c:pt idx="2">
                  <c:v>3462</c:v>
                </c:pt>
                <c:pt idx="3">
                  <c:v>4925</c:v>
                </c:pt>
                <c:pt idx="4">
                  <c:v>4004</c:v>
                </c:pt>
                <c:pt idx="5">
                  <c:v>4739</c:v>
                </c:pt>
                <c:pt idx="6">
                  <c:v>19334</c:v>
                </c:pt>
                <c:pt idx="7">
                  <c:v>17932</c:v>
                </c:pt>
                <c:pt idx="8">
                  <c:v>10048</c:v>
                </c:pt>
                <c:pt idx="9">
                  <c:v>11700</c:v>
                </c:pt>
                <c:pt idx="10">
                  <c:v>9378</c:v>
                </c:pt>
                <c:pt idx="11">
                  <c:v>10623</c:v>
                </c:pt>
                <c:pt idx="12">
                  <c:v>11724</c:v>
                </c:pt>
                <c:pt idx="13">
                  <c:v>10779</c:v>
                </c:pt>
                <c:pt idx="14">
                  <c:v>10104</c:v>
                </c:pt>
                <c:pt idx="15">
                  <c:v>11289</c:v>
                </c:pt>
                <c:pt idx="16">
                  <c:v>11180</c:v>
                </c:pt>
                <c:pt idx="17">
                  <c:v>12683</c:v>
                </c:pt>
                <c:pt idx="18">
                  <c:v>31402</c:v>
                </c:pt>
                <c:pt idx="19">
                  <c:v>26251</c:v>
                </c:pt>
                <c:pt idx="20">
                  <c:v>18426</c:v>
                </c:pt>
                <c:pt idx="21">
                  <c:v>17110</c:v>
                </c:pt>
                <c:pt idx="22">
                  <c:v>16531</c:v>
                </c:pt>
                <c:pt idx="23">
                  <c:v>17905</c:v>
                </c:pt>
                <c:pt idx="24">
                  <c:v>216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7.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1.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6.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7.03</c:v>
                </c:pt>
                <c:pt idx="1">
                  <c:v>16.01</c:v>
                </c:pt>
                <c:pt idx="2">
                  <c:v>17.48</c:v>
                </c:pt>
                <c:pt idx="3">
                  <c:v>17.84</c:v>
                </c:pt>
                <c:pt idx="4">
                  <c:v>21.88</c:v>
                </c:pt>
                <c:pt idx="5">
                  <c:v>22.14</c:v>
                </c:pt>
                <c:pt idx="6">
                  <c:v>20.61</c:v>
                </c:pt>
                <c:pt idx="7">
                  <c:v>19.66</c:v>
                </c:pt>
                <c:pt idx="8">
                  <c:v>20.46</c:v>
                </c:pt>
                <c:pt idx="9">
                  <c:v>22.63</c:v>
                </c:pt>
                <c:pt idx="10">
                  <c:v>22.6</c:v>
                </c:pt>
                <c:pt idx="11">
                  <c:v>22.41</c:v>
                </c:pt>
                <c:pt idx="12">
                  <c:v>22.99</c:v>
                </c:pt>
                <c:pt idx="13">
                  <c:v>21.78</c:v>
                </c:pt>
                <c:pt idx="14">
                  <c:v>22.76</c:v>
                </c:pt>
                <c:pt idx="15">
                  <c:v>23.52</c:v>
                </c:pt>
                <c:pt idx="16">
                  <c:v>23.34</c:v>
                </c:pt>
                <c:pt idx="17">
                  <c:v>24.58</c:v>
                </c:pt>
                <c:pt idx="18">
                  <c:v>25.89</c:v>
                </c:pt>
                <c:pt idx="19">
                  <c:v>22.93</c:v>
                </c:pt>
                <c:pt idx="20">
                  <c:v>25.49</c:v>
                </c:pt>
                <c:pt idx="21">
                  <c:v>25.31</c:v>
                </c:pt>
                <c:pt idx="22">
                  <c:v>24.27</c:v>
                </c:pt>
                <c:pt idx="23">
                  <c:v>24.76</c:v>
                </c:pt>
                <c:pt idx="24">
                  <c:v>26.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31.0</c:v>
                </c:pt>
                <c:pt idx="2">
                  <c:v>3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45.0</c:v>
                </c:pt>
                <c:pt idx="2">
                  <c:v>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40.0</c:v>
                </c:pt>
                <c:pt idx="2">
                  <c:v>1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2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29832517553599</c:v>
                </c:pt>
                <c:pt idx="2">
                  <c:v>0.95974791624313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3.0</c:v>
                </c:pt>
                <c:pt idx="2">
                  <c:v>12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7.0</c:v>
                </c:pt>
                <c:pt idx="2">
                  <c:v>7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0.743866014042879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1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8.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0.0</c:v>
                </c:pt>
                <c:pt idx="2">
                  <c:v>12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133845326320823</c:v>
                </c:pt>
                <c:pt idx="2">
                  <c:v>0.9402118694716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30707626105665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1.0</c:v>
                </c:pt>
                <c:pt idx="2">
                  <c:v>2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8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0.0</c:v>
                </c:pt>
                <c:pt idx="2">
                  <c:v>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3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06085947696621</c:v>
                </c:pt>
                <c:pt idx="2">
                  <c:v>0.96704854900823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9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ontari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9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hardonn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9.0</c:v>
                </c:pt>
                <c:pt idx="2">
                  <c:v>8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4486875815729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7.0</c:v>
                </c:pt>
                <c:pt idx="2">
                  <c:v>4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7.0</c:v>
                </c:pt>
                <c:pt idx="2">
                  <c:v>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29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5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8844253634726708</c:v>
                </c:pt>
                <c:pt idx="2">
                  <c:v>0.87708894477596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8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7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01671155820771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5.0</c:v>
                </c:pt>
                <c:pt idx="2">
                  <c:v>7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8.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8.0</c:v>
                </c:pt>
                <c:pt idx="2">
                  <c:v>18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2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8903472438611024</c:v>
                </c:pt>
                <c:pt idx="2">
                  <c:v>0.901268439492624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9.0</c:v>
                </c:pt>
                <c:pt idx="2">
                  <c:v>8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1227779508888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1.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3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26507476544541</c:v>
                </c:pt>
                <c:pt idx="2">
                  <c:v>0.92951756257908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hardonn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1205981235632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1.0</c:v>
                </c:pt>
                <c:pt idx="2">
                  <c:v>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2.0</c:v>
                </c:pt>
                <c:pt idx="2">
                  <c:v>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1.0</c:v>
                </c:pt>
                <c:pt idx="2">
                  <c:v>8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3269958796093</c:v>
                </c:pt>
                <c:pt idx="2">
                  <c:v>1.12146437709592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7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1.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8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31.0</c:v>
                </c:pt>
                <c:pt idx="2">
                  <c:v>2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13856503821635</c:v>
                </c:pt>
                <c:pt idx="2">
                  <c:v>1.1093092881546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11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7.0</c:v>
                </c:pt>
                <c:pt idx="2">
                  <c:v>17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4.0</c:v>
                </c:pt>
                <c:pt idx="2">
                  <c:v>7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0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73195004410874</c:v>
                </c:pt>
                <c:pt idx="2">
                  <c:v>1.10693272869110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3.0</c:v>
                </c:pt>
                <c:pt idx="2">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5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8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1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27758498608395</c:v>
                </c:pt>
                <c:pt idx="2">
                  <c:v>1.11207156427675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8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556,2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826,8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46,826,840</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48556262</c:v>
                </c:pt>
                <c:pt idx="1">
                  <c:v>46989896</c:v>
                </c:pt>
                <c:pt idx="2">
                  <c:v>48556262</c:v>
                </c:pt>
                <c:pt idx="3">
                  <c:v>46989896</c:v>
                </c:pt>
                <c:pt idx="4">
                  <c:v>48556262</c:v>
                </c:pt>
                <c:pt idx="5">
                  <c:v>48556262</c:v>
                </c:pt>
                <c:pt idx="6">
                  <c:v>45423535</c:v>
                </c:pt>
                <c:pt idx="7">
                  <c:v>48556262</c:v>
                </c:pt>
                <c:pt idx="8">
                  <c:v>46989896</c:v>
                </c:pt>
                <c:pt idx="9">
                  <c:v>48556262</c:v>
                </c:pt>
                <c:pt idx="10">
                  <c:v>46989896</c:v>
                </c:pt>
                <c:pt idx="11">
                  <c:v>48463893</c:v>
                </c:pt>
                <c:pt idx="12">
                  <c:v>48387793</c:v>
                </c:pt>
                <c:pt idx="13">
                  <c:v>46826840</c:v>
                </c:pt>
                <c:pt idx="14">
                  <c:v>48387793</c:v>
                </c:pt>
                <c:pt idx="15">
                  <c:v>46826840</c:v>
                </c:pt>
                <c:pt idx="16">
                  <c:v>48387793</c:v>
                </c:pt>
                <c:pt idx="17">
                  <c:v>48387793</c:v>
                </c:pt>
                <c:pt idx="18">
                  <c:v>43705992</c:v>
                </c:pt>
                <c:pt idx="19">
                  <c:v>48387793</c:v>
                </c:pt>
                <c:pt idx="20">
                  <c:v>46826840</c:v>
                </c:pt>
                <c:pt idx="21">
                  <c:v>48387793</c:v>
                </c:pt>
                <c:pt idx="22">
                  <c:v>468268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5.08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5.06</c:v>
                </c:pt>
                <c:pt idx="1">
                  <c:v>5.06</c:v>
                </c:pt>
                <c:pt idx="2">
                  <c:v>5.06</c:v>
                </c:pt>
                <c:pt idx="3">
                  <c:v>5.06</c:v>
                </c:pt>
                <c:pt idx="4">
                  <c:v>5.06</c:v>
                </c:pt>
                <c:pt idx="5">
                  <c:v>5.06</c:v>
                </c:pt>
                <c:pt idx="6">
                  <c:v>5.06</c:v>
                </c:pt>
                <c:pt idx="7">
                  <c:v>5.06</c:v>
                </c:pt>
                <c:pt idx="8">
                  <c:v>5.06</c:v>
                </c:pt>
                <c:pt idx="9">
                  <c:v>5.06</c:v>
                </c:pt>
                <c:pt idx="10">
                  <c:v>5.06</c:v>
                </c:pt>
                <c:pt idx="11">
                  <c:v>5.07</c:v>
                </c:pt>
                <c:pt idx="12">
                  <c:v>5.08</c:v>
                </c:pt>
                <c:pt idx="13">
                  <c:v>5.08</c:v>
                </c:pt>
                <c:pt idx="14">
                  <c:v>5.08</c:v>
                </c:pt>
                <c:pt idx="15">
                  <c:v>5.08</c:v>
                </c:pt>
                <c:pt idx="16">
                  <c:v>5.08</c:v>
                </c:pt>
                <c:pt idx="17">
                  <c:v>5.08</c:v>
                </c:pt>
                <c:pt idx="18">
                  <c:v>5.08</c:v>
                </c:pt>
                <c:pt idx="19">
                  <c:v>5.08</c:v>
                </c:pt>
                <c:pt idx="20">
                  <c:v>5.08</c:v>
                </c:pt>
                <c:pt idx="21">
                  <c:v>5.08</c:v>
                </c:pt>
                <c:pt idx="22">
                  <c:v>5.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0.0</c:v>
                </c:pt>
                <c:pt idx="2">
                  <c:v>11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1.0</c:v>
                </c:pt>
                <c:pt idx="2">
                  <c:v>1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6.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70851953293932</c:v>
                </c:pt>
                <c:pt idx="2">
                  <c:v>1.15831050886550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9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1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8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1.0</c:v>
                </c:pt>
                <c:pt idx="2">
                  <c:v>8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93369518201732</c:v>
                </c:pt>
                <c:pt idx="2">
                  <c:v>1.125374987791095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8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nglo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5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4.0</c:v>
                </c:pt>
                <c:pt idx="2">
                  <c:v>8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583905818801</c:v>
                </c:pt>
                <c:pt idx="2">
                  <c:v>1.06638629557865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nglo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6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8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1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17555433388308</c:v>
                </c:pt>
                <c:pt idx="2">
                  <c:v>1.116921103452164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era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11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glo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9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0</c:v>
                </c:pt>
                <c:pt idx="2">
                  <c:v>3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35.0</c:v>
                </c:pt>
                <c:pt idx="2">
                  <c:v>2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9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569394219718</c:v>
                </c:pt>
                <c:pt idx="2">
                  <c:v>1.11845793737560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rquissa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0.0</c:v>
                </c:pt>
                <c:pt idx="2">
                  <c:v>15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glo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Fera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thur Me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stheim</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Wolfber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ve Beblenheim</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2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2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3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272</c:v>
                </c:pt>
                <c:pt idx="1">
                  <c:v>17036</c:v>
                </c:pt>
                <c:pt idx="2">
                  <c:v>12852</c:v>
                </c:pt>
                <c:pt idx="3">
                  <c:v>19336</c:v>
                </c:pt>
                <c:pt idx="4">
                  <c:v>18086</c:v>
                </c:pt>
                <c:pt idx="5">
                  <c:v>18424</c:v>
                </c:pt>
                <c:pt idx="6">
                  <c:v>28235</c:v>
                </c:pt>
                <c:pt idx="7">
                  <c:v>22764</c:v>
                </c:pt>
                <c:pt idx="8">
                  <c:v>14749</c:v>
                </c:pt>
                <c:pt idx="9">
                  <c:v>21383</c:v>
                </c:pt>
                <c:pt idx="10">
                  <c:v>15497</c:v>
                </c:pt>
                <c:pt idx="11">
                  <c:v>17839</c:v>
                </c:pt>
                <c:pt idx="12">
                  <c:v>21942</c:v>
                </c:pt>
                <c:pt idx="13">
                  <c:v>14218</c:v>
                </c:pt>
                <c:pt idx="14">
                  <c:v>8503</c:v>
                </c:pt>
                <c:pt idx="15">
                  <c:v>18879</c:v>
                </c:pt>
                <c:pt idx="16">
                  <c:v>17606</c:v>
                </c:pt>
                <c:pt idx="17">
                  <c:v>18610</c:v>
                </c:pt>
                <c:pt idx="18">
                  <c:v>24172</c:v>
                </c:pt>
                <c:pt idx="19">
                  <c:v>16905</c:v>
                </c:pt>
                <c:pt idx="20">
                  <c:v>13966</c:v>
                </c:pt>
                <c:pt idx="21">
                  <c:v>17746</c:v>
                </c:pt>
                <c:pt idx="22">
                  <c:v>16062</c:v>
                </c:pt>
                <c:pt idx="23">
                  <c:v>18200</c:v>
                </c:pt>
                <c:pt idx="24">
                  <c:v>1830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8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05</c:v>
                </c:pt>
                <c:pt idx="1">
                  <c:v>13.84</c:v>
                </c:pt>
                <c:pt idx="2">
                  <c:v>13.85</c:v>
                </c:pt>
                <c:pt idx="3">
                  <c:v>14.22</c:v>
                </c:pt>
                <c:pt idx="4">
                  <c:v>14.66</c:v>
                </c:pt>
                <c:pt idx="5">
                  <c:v>14.28</c:v>
                </c:pt>
                <c:pt idx="6">
                  <c:v>13.79</c:v>
                </c:pt>
                <c:pt idx="7">
                  <c:v>14.66</c:v>
                </c:pt>
                <c:pt idx="8">
                  <c:v>15.02</c:v>
                </c:pt>
                <c:pt idx="9">
                  <c:v>14.76</c:v>
                </c:pt>
                <c:pt idx="10">
                  <c:v>14.89</c:v>
                </c:pt>
                <c:pt idx="11">
                  <c:v>14.79</c:v>
                </c:pt>
                <c:pt idx="12">
                  <c:v>15.0</c:v>
                </c:pt>
                <c:pt idx="13">
                  <c:v>13.86</c:v>
                </c:pt>
                <c:pt idx="14">
                  <c:v>14.08</c:v>
                </c:pt>
                <c:pt idx="15">
                  <c:v>13.86</c:v>
                </c:pt>
                <c:pt idx="16">
                  <c:v>13.44</c:v>
                </c:pt>
                <c:pt idx="17">
                  <c:v>13.9</c:v>
                </c:pt>
                <c:pt idx="18">
                  <c:v>13.92</c:v>
                </c:pt>
                <c:pt idx="19">
                  <c:v>14.7</c:v>
                </c:pt>
                <c:pt idx="20">
                  <c:v>14.78</c:v>
                </c:pt>
                <c:pt idx="21">
                  <c:v>15.13</c:v>
                </c:pt>
                <c:pt idx="22">
                  <c:v>14.58</c:v>
                </c:pt>
                <c:pt idx="23">
                  <c:v>14.63</c:v>
                </c:pt>
                <c:pt idx="24">
                  <c:v>14.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1402191681298</c:v>
                </c:pt>
                <c:pt idx="2">
                  <c:v>1.047693285705636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thur Me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stheim</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Wolfber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ve Beblenheim</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16445129862182</c:v>
                </c:pt>
                <c:pt idx="2">
                  <c:v>1.032645467675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36192911303121</c:v>
                </c:pt>
                <c:pt idx="2">
                  <c:v>1.011541174396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3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5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6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6332</c:v>
                </c:pt>
                <c:pt idx="1">
                  <c:v>24954</c:v>
                </c:pt>
                <c:pt idx="2">
                  <c:v>22224</c:v>
                </c:pt>
                <c:pt idx="3">
                  <c:v>20227</c:v>
                </c:pt>
                <c:pt idx="4">
                  <c:v>18451</c:v>
                </c:pt>
                <c:pt idx="5">
                  <c:v>25500</c:v>
                </c:pt>
                <c:pt idx="6">
                  <c:v>53967</c:v>
                </c:pt>
                <c:pt idx="7">
                  <c:v>25306</c:v>
                </c:pt>
                <c:pt idx="8">
                  <c:v>18439</c:v>
                </c:pt>
                <c:pt idx="9">
                  <c:v>21101</c:v>
                </c:pt>
                <c:pt idx="10">
                  <c:v>18157</c:v>
                </c:pt>
                <c:pt idx="11">
                  <c:v>23250</c:v>
                </c:pt>
                <c:pt idx="12">
                  <c:v>23515</c:v>
                </c:pt>
                <c:pt idx="13">
                  <c:v>24553</c:v>
                </c:pt>
                <c:pt idx="14">
                  <c:v>22042</c:v>
                </c:pt>
                <c:pt idx="15">
                  <c:v>19878</c:v>
                </c:pt>
                <c:pt idx="16">
                  <c:v>18537</c:v>
                </c:pt>
                <c:pt idx="17">
                  <c:v>21229</c:v>
                </c:pt>
                <c:pt idx="18">
                  <c:v>44091</c:v>
                </c:pt>
                <c:pt idx="19">
                  <c:v>15381</c:v>
                </c:pt>
                <c:pt idx="20">
                  <c:v>10577</c:v>
                </c:pt>
                <c:pt idx="21">
                  <c:v>12237</c:v>
                </c:pt>
                <c:pt idx="22">
                  <c:v>12554</c:v>
                </c:pt>
                <c:pt idx="23">
                  <c:v>15648</c:v>
                </c:pt>
                <c:pt idx="24">
                  <c:v>146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1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1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81</c:v>
                </c:pt>
                <c:pt idx="1">
                  <c:v>13.48</c:v>
                </c:pt>
                <c:pt idx="2">
                  <c:v>13.92</c:v>
                </c:pt>
                <c:pt idx="3">
                  <c:v>13.6</c:v>
                </c:pt>
                <c:pt idx="4">
                  <c:v>13.99</c:v>
                </c:pt>
                <c:pt idx="5">
                  <c:v>13.78</c:v>
                </c:pt>
                <c:pt idx="6">
                  <c:v>13.94</c:v>
                </c:pt>
                <c:pt idx="7">
                  <c:v>14.18</c:v>
                </c:pt>
                <c:pt idx="8">
                  <c:v>14.75</c:v>
                </c:pt>
                <c:pt idx="9">
                  <c:v>14.23</c:v>
                </c:pt>
                <c:pt idx="10">
                  <c:v>13.65</c:v>
                </c:pt>
                <c:pt idx="11">
                  <c:v>14.19</c:v>
                </c:pt>
                <c:pt idx="12">
                  <c:v>14.59</c:v>
                </c:pt>
                <c:pt idx="13">
                  <c:v>14.13</c:v>
                </c:pt>
                <c:pt idx="14">
                  <c:v>13.67</c:v>
                </c:pt>
                <c:pt idx="15">
                  <c:v>13.48</c:v>
                </c:pt>
                <c:pt idx="16">
                  <c:v>11.99</c:v>
                </c:pt>
                <c:pt idx="17">
                  <c:v>13.4</c:v>
                </c:pt>
                <c:pt idx="18">
                  <c:v>13.69</c:v>
                </c:pt>
                <c:pt idx="19">
                  <c:v>14.27</c:v>
                </c:pt>
                <c:pt idx="20">
                  <c:v>15.05</c:v>
                </c:pt>
                <c:pt idx="21">
                  <c:v>14.13</c:v>
                </c:pt>
                <c:pt idx="22">
                  <c:v>14.38</c:v>
                </c:pt>
                <c:pt idx="23">
                  <c:v>14.32</c:v>
                </c:pt>
                <c:pt idx="24">
                  <c:v>14.1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9770677213433</c:v>
                </c:pt>
                <c:pt idx="2">
                  <c:v>1.01736400222037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1.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71407520424596</c:v>
                </c:pt>
                <c:pt idx="2">
                  <c:v>1.03277063813417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8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9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7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8868</c:v>
                </c:pt>
                <c:pt idx="1">
                  <c:v>21747</c:v>
                </c:pt>
                <c:pt idx="2">
                  <c:v>26972</c:v>
                </c:pt>
                <c:pt idx="3">
                  <c:v>17507</c:v>
                </c:pt>
                <c:pt idx="4">
                  <c:v>14039</c:v>
                </c:pt>
                <c:pt idx="5">
                  <c:v>13203</c:v>
                </c:pt>
                <c:pt idx="6">
                  <c:v>31170</c:v>
                </c:pt>
                <c:pt idx="7">
                  <c:v>17552</c:v>
                </c:pt>
                <c:pt idx="8">
                  <c:v>11474</c:v>
                </c:pt>
                <c:pt idx="9">
                  <c:v>12558</c:v>
                </c:pt>
                <c:pt idx="10">
                  <c:v>13457</c:v>
                </c:pt>
                <c:pt idx="11">
                  <c:v>17126</c:v>
                </c:pt>
                <c:pt idx="12">
                  <c:v>16057</c:v>
                </c:pt>
                <c:pt idx="13">
                  <c:v>21944</c:v>
                </c:pt>
                <c:pt idx="14">
                  <c:v>26158</c:v>
                </c:pt>
                <c:pt idx="15">
                  <c:v>16779</c:v>
                </c:pt>
                <c:pt idx="16">
                  <c:v>15585</c:v>
                </c:pt>
                <c:pt idx="17">
                  <c:v>12309</c:v>
                </c:pt>
                <c:pt idx="18">
                  <c:v>25283</c:v>
                </c:pt>
                <c:pt idx="19">
                  <c:v>11755</c:v>
                </c:pt>
                <c:pt idx="20">
                  <c:v>11598</c:v>
                </c:pt>
                <c:pt idx="21">
                  <c:v>11557</c:v>
                </c:pt>
                <c:pt idx="22">
                  <c:v>16374</c:v>
                </c:pt>
                <c:pt idx="23">
                  <c:v>16409</c:v>
                </c:pt>
                <c:pt idx="24">
                  <c:v>1572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3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0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08</c:v>
                </c:pt>
                <c:pt idx="1">
                  <c:v>14.28</c:v>
                </c:pt>
                <c:pt idx="2">
                  <c:v>14.4</c:v>
                </c:pt>
                <c:pt idx="3">
                  <c:v>14.31</c:v>
                </c:pt>
                <c:pt idx="4">
                  <c:v>14.53</c:v>
                </c:pt>
                <c:pt idx="5">
                  <c:v>13.75</c:v>
                </c:pt>
                <c:pt idx="6">
                  <c:v>14.04</c:v>
                </c:pt>
                <c:pt idx="7">
                  <c:v>14.43</c:v>
                </c:pt>
                <c:pt idx="8">
                  <c:v>14.67</c:v>
                </c:pt>
                <c:pt idx="9">
                  <c:v>14.65</c:v>
                </c:pt>
                <c:pt idx="10">
                  <c:v>14.38</c:v>
                </c:pt>
                <c:pt idx="11">
                  <c:v>14.76</c:v>
                </c:pt>
                <c:pt idx="12">
                  <c:v>14.83</c:v>
                </c:pt>
                <c:pt idx="13">
                  <c:v>14.36</c:v>
                </c:pt>
                <c:pt idx="14">
                  <c:v>13.85</c:v>
                </c:pt>
                <c:pt idx="15">
                  <c:v>14.32</c:v>
                </c:pt>
                <c:pt idx="16">
                  <c:v>12.93</c:v>
                </c:pt>
                <c:pt idx="17">
                  <c:v>13.92</c:v>
                </c:pt>
                <c:pt idx="18">
                  <c:v>13.91</c:v>
                </c:pt>
                <c:pt idx="19">
                  <c:v>14.27</c:v>
                </c:pt>
                <c:pt idx="20">
                  <c:v>14.77</c:v>
                </c:pt>
                <c:pt idx="21">
                  <c:v>14.85</c:v>
                </c:pt>
                <c:pt idx="22">
                  <c:v>15.12</c:v>
                </c:pt>
                <c:pt idx="23">
                  <c:v>15.11</c:v>
                </c:pt>
                <c:pt idx="24">
                  <c:v>15.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6525888463407</c:v>
                </c:pt>
                <c:pt idx="2">
                  <c:v>1.007722616905324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795722071077072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4168247397735</c:v>
                </c:pt>
                <c:pt idx="2">
                  <c:v>1.03308949026284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85984819702304</c:v>
                </c:pt>
                <c:pt idx="2">
                  <c:v>1.010004812441427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798878785576184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02823708027948</c:v>
                </c:pt>
                <c:pt idx="2">
                  <c:v>1.03175468702388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16954578863593</c:v>
                </c:pt>
                <c:pt idx="2">
                  <c:v>1.01042075312600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illanc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8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elene Bordea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1.0</c:v>
                </c:pt>
                <c:pt idx="2">
                  <c:v>12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ieur Gail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1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75751882169</c:v>
                </c:pt>
                <c:pt idx="2">
                  <c:v>0.98935736903651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ast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illanc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elene Bordea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ieur Gail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0.79148589522921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9.0</c:v>
                </c:pt>
                <c:pt idx="2">
                  <c:v>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873.0</c:v>
                </c:pt>
                <c:pt idx="2">
                  <c:v>33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96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6244076299642</c:v>
                </c:pt>
                <c:pt idx="2">
                  <c:v>1.07152099192709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8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1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7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6,3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6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3745</c:v>
                </c:pt>
                <c:pt idx="1">
                  <c:v>39130</c:v>
                </c:pt>
                <c:pt idx="2">
                  <c:v>38919</c:v>
                </c:pt>
                <c:pt idx="3">
                  <c:v>28127</c:v>
                </c:pt>
                <c:pt idx="4">
                  <c:v>28234</c:v>
                </c:pt>
                <c:pt idx="5">
                  <c:v>24202</c:v>
                </c:pt>
                <c:pt idx="6">
                  <c:v>58629</c:v>
                </c:pt>
                <c:pt idx="7">
                  <c:v>35008</c:v>
                </c:pt>
                <c:pt idx="8">
                  <c:v>22147</c:v>
                </c:pt>
                <c:pt idx="9">
                  <c:v>25154</c:v>
                </c:pt>
                <c:pt idx="10">
                  <c:v>25042</c:v>
                </c:pt>
                <c:pt idx="11">
                  <c:v>32073</c:v>
                </c:pt>
                <c:pt idx="12">
                  <c:v>31502</c:v>
                </c:pt>
                <c:pt idx="13">
                  <c:v>36323</c:v>
                </c:pt>
                <c:pt idx="14">
                  <c:v>34405</c:v>
                </c:pt>
                <c:pt idx="15">
                  <c:v>27211</c:v>
                </c:pt>
                <c:pt idx="16">
                  <c:v>26818</c:v>
                </c:pt>
                <c:pt idx="17">
                  <c:v>25465</c:v>
                </c:pt>
                <c:pt idx="18">
                  <c:v>48415</c:v>
                </c:pt>
                <c:pt idx="19">
                  <c:v>22503</c:v>
                </c:pt>
                <c:pt idx="20">
                  <c:v>19233</c:v>
                </c:pt>
                <c:pt idx="21">
                  <c:v>22581</c:v>
                </c:pt>
                <c:pt idx="22">
                  <c:v>26138</c:v>
                </c:pt>
                <c:pt idx="23">
                  <c:v>28027</c:v>
                </c:pt>
                <c:pt idx="24">
                  <c:v>296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2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2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3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2</c:v>
                </c:pt>
                <c:pt idx="1">
                  <c:v>14.1</c:v>
                </c:pt>
                <c:pt idx="2">
                  <c:v>14.06</c:v>
                </c:pt>
                <c:pt idx="3">
                  <c:v>14.33</c:v>
                </c:pt>
                <c:pt idx="4">
                  <c:v>14.41</c:v>
                </c:pt>
                <c:pt idx="5">
                  <c:v>13.99</c:v>
                </c:pt>
                <c:pt idx="6">
                  <c:v>13.99</c:v>
                </c:pt>
                <c:pt idx="7">
                  <c:v>14.42</c:v>
                </c:pt>
                <c:pt idx="8">
                  <c:v>14.86</c:v>
                </c:pt>
                <c:pt idx="9">
                  <c:v>14.48</c:v>
                </c:pt>
                <c:pt idx="10">
                  <c:v>14.3</c:v>
                </c:pt>
                <c:pt idx="11">
                  <c:v>14.29</c:v>
                </c:pt>
                <c:pt idx="12">
                  <c:v>14.55</c:v>
                </c:pt>
                <c:pt idx="13">
                  <c:v>13.29</c:v>
                </c:pt>
                <c:pt idx="14">
                  <c:v>13.25</c:v>
                </c:pt>
                <c:pt idx="15">
                  <c:v>13.78</c:v>
                </c:pt>
                <c:pt idx="16">
                  <c:v>12.22</c:v>
                </c:pt>
                <c:pt idx="17">
                  <c:v>13.24</c:v>
                </c:pt>
                <c:pt idx="18">
                  <c:v>13.4</c:v>
                </c:pt>
                <c:pt idx="19">
                  <c:v>13.89</c:v>
                </c:pt>
                <c:pt idx="20">
                  <c:v>14.26</c:v>
                </c:pt>
                <c:pt idx="21">
                  <c:v>14.4</c:v>
                </c:pt>
                <c:pt idx="22">
                  <c:v>14.28</c:v>
                </c:pt>
                <c:pt idx="23">
                  <c:v>14.08</c:v>
                </c:pt>
                <c:pt idx="24">
                  <c:v>14.3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46.0</c:v>
                </c:pt>
                <c:pt idx="2">
                  <c:v>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583.0</c:v>
                </c:pt>
                <c:pt idx="2">
                  <c:v>248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97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00543631458141</c:v>
                </c:pt>
                <c:pt idx="2">
                  <c:v>1.09613820319735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8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1.0</c:v>
                </c:pt>
                <c:pt idx="2">
                  <c:v>12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0</c:v>
                </c:pt>
                <c:pt idx="2">
                  <c:v>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3998.0</c:v>
                </c:pt>
                <c:pt idx="2">
                  <c:v>23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797.5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331412574534598</c:v>
                </c:pt>
                <c:pt idx="2">
                  <c:v>1.207946892009296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9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3.0</c:v>
                </c:pt>
                <c:pt idx="2">
                  <c:v>12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2.0</c:v>
                </c:pt>
                <c:pt idx="2">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275.0</c:v>
                </c:pt>
                <c:pt idx="2">
                  <c:v>262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1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4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2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9101</c:v>
                </c:pt>
                <c:pt idx="1">
                  <c:v>26027</c:v>
                </c:pt>
                <c:pt idx="2">
                  <c:v>14164</c:v>
                </c:pt>
                <c:pt idx="3">
                  <c:v>29918</c:v>
                </c:pt>
                <c:pt idx="4">
                  <c:v>33407</c:v>
                </c:pt>
                <c:pt idx="5">
                  <c:v>33176</c:v>
                </c:pt>
                <c:pt idx="6">
                  <c:v>53640</c:v>
                </c:pt>
                <c:pt idx="7">
                  <c:v>32896</c:v>
                </c:pt>
                <c:pt idx="8">
                  <c:v>25289</c:v>
                </c:pt>
                <c:pt idx="9">
                  <c:v>33729</c:v>
                </c:pt>
                <c:pt idx="10">
                  <c:v>31331</c:v>
                </c:pt>
                <c:pt idx="11">
                  <c:v>25927</c:v>
                </c:pt>
                <c:pt idx="12">
                  <c:v>32399</c:v>
                </c:pt>
                <c:pt idx="13">
                  <c:v>24434</c:v>
                </c:pt>
                <c:pt idx="14">
                  <c:v>12778</c:v>
                </c:pt>
                <c:pt idx="15">
                  <c:v>23881</c:v>
                </c:pt>
                <c:pt idx="16">
                  <c:v>30663</c:v>
                </c:pt>
                <c:pt idx="17">
                  <c:v>41989</c:v>
                </c:pt>
                <c:pt idx="18">
                  <c:v>45175</c:v>
                </c:pt>
                <c:pt idx="19">
                  <c:v>31051</c:v>
                </c:pt>
                <c:pt idx="20">
                  <c:v>25070</c:v>
                </c:pt>
                <c:pt idx="21">
                  <c:v>25962</c:v>
                </c:pt>
                <c:pt idx="22">
                  <c:v>26086</c:v>
                </c:pt>
                <c:pt idx="23">
                  <c:v>29855</c:v>
                </c:pt>
                <c:pt idx="24">
                  <c:v>262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0.4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0.2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3.1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0.47</c:v>
                </c:pt>
                <c:pt idx="1">
                  <c:v>29.98</c:v>
                </c:pt>
                <c:pt idx="2">
                  <c:v>30.59</c:v>
                </c:pt>
                <c:pt idx="3">
                  <c:v>29.33</c:v>
                </c:pt>
                <c:pt idx="4">
                  <c:v>30.99</c:v>
                </c:pt>
                <c:pt idx="5">
                  <c:v>30.13</c:v>
                </c:pt>
                <c:pt idx="6">
                  <c:v>30.32</c:v>
                </c:pt>
                <c:pt idx="7">
                  <c:v>32.19</c:v>
                </c:pt>
                <c:pt idx="8">
                  <c:v>32.05</c:v>
                </c:pt>
                <c:pt idx="9">
                  <c:v>31.97</c:v>
                </c:pt>
                <c:pt idx="10">
                  <c:v>33.83</c:v>
                </c:pt>
                <c:pt idx="11">
                  <c:v>33.67</c:v>
                </c:pt>
                <c:pt idx="12">
                  <c:v>29.78</c:v>
                </c:pt>
                <c:pt idx="13">
                  <c:v>30.24</c:v>
                </c:pt>
                <c:pt idx="14">
                  <c:v>30.64</c:v>
                </c:pt>
                <c:pt idx="15">
                  <c:v>32.27</c:v>
                </c:pt>
                <c:pt idx="16">
                  <c:v>29.97</c:v>
                </c:pt>
                <c:pt idx="17">
                  <c:v>31.41</c:v>
                </c:pt>
                <c:pt idx="18">
                  <c:v>32.9</c:v>
                </c:pt>
                <c:pt idx="19">
                  <c:v>32.14</c:v>
                </c:pt>
                <c:pt idx="20">
                  <c:v>32.6</c:v>
                </c:pt>
                <c:pt idx="21">
                  <c:v>32.41</c:v>
                </c:pt>
                <c:pt idx="22">
                  <c:v>31.89</c:v>
                </c:pt>
                <c:pt idx="23">
                  <c:v>30.87</c:v>
                </c:pt>
                <c:pt idx="24">
                  <c:v>33.1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0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8,5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8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3010</c:v>
                </c:pt>
                <c:pt idx="1">
                  <c:v>29139</c:v>
                </c:pt>
                <c:pt idx="2">
                  <c:v>29277</c:v>
                </c:pt>
                <c:pt idx="3">
                  <c:v>24762</c:v>
                </c:pt>
                <c:pt idx="4">
                  <c:v>25175</c:v>
                </c:pt>
                <c:pt idx="5">
                  <c:v>30895</c:v>
                </c:pt>
                <c:pt idx="6">
                  <c:v>68127</c:v>
                </c:pt>
                <c:pt idx="7">
                  <c:v>37072</c:v>
                </c:pt>
                <c:pt idx="8">
                  <c:v>25605</c:v>
                </c:pt>
                <c:pt idx="9">
                  <c:v>29413</c:v>
                </c:pt>
                <c:pt idx="10">
                  <c:v>24599</c:v>
                </c:pt>
                <c:pt idx="11">
                  <c:v>29405</c:v>
                </c:pt>
                <c:pt idx="12">
                  <c:v>27536</c:v>
                </c:pt>
                <c:pt idx="13">
                  <c:v>28573</c:v>
                </c:pt>
                <c:pt idx="14">
                  <c:v>26763</c:v>
                </c:pt>
                <c:pt idx="15">
                  <c:v>26998</c:v>
                </c:pt>
                <c:pt idx="16">
                  <c:v>26592</c:v>
                </c:pt>
                <c:pt idx="17">
                  <c:v>28063</c:v>
                </c:pt>
                <c:pt idx="18">
                  <c:v>54445</c:v>
                </c:pt>
                <c:pt idx="19">
                  <c:v>20238</c:v>
                </c:pt>
                <c:pt idx="20">
                  <c:v>16277</c:v>
                </c:pt>
                <c:pt idx="21">
                  <c:v>16774</c:v>
                </c:pt>
                <c:pt idx="22">
                  <c:v>17542</c:v>
                </c:pt>
                <c:pt idx="23">
                  <c:v>19150</c:v>
                </c:pt>
                <c:pt idx="24">
                  <c:v>188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7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5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2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7</c:v>
                </c:pt>
                <c:pt idx="1">
                  <c:v>13.32</c:v>
                </c:pt>
                <c:pt idx="2">
                  <c:v>13.45</c:v>
                </c:pt>
                <c:pt idx="3">
                  <c:v>13.57</c:v>
                </c:pt>
                <c:pt idx="4">
                  <c:v>14.06</c:v>
                </c:pt>
                <c:pt idx="5">
                  <c:v>13.68</c:v>
                </c:pt>
                <c:pt idx="6">
                  <c:v>13.93</c:v>
                </c:pt>
                <c:pt idx="7">
                  <c:v>14.31</c:v>
                </c:pt>
                <c:pt idx="8">
                  <c:v>14.47</c:v>
                </c:pt>
                <c:pt idx="9">
                  <c:v>14.17</c:v>
                </c:pt>
                <c:pt idx="10">
                  <c:v>13.49</c:v>
                </c:pt>
                <c:pt idx="11">
                  <c:v>13.94</c:v>
                </c:pt>
                <c:pt idx="12">
                  <c:v>14.28</c:v>
                </c:pt>
                <c:pt idx="13">
                  <c:v>13.51</c:v>
                </c:pt>
                <c:pt idx="14">
                  <c:v>13.13</c:v>
                </c:pt>
                <c:pt idx="15">
                  <c:v>13.51</c:v>
                </c:pt>
                <c:pt idx="16">
                  <c:v>12.27</c:v>
                </c:pt>
                <c:pt idx="17">
                  <c:v>13.45</c:v>
                </c:pt>
                <c:pt idx="18">
                  <c:v>13.52</c:v>
                </c:pt>
                <c:pt idx="19">
                  <c:v>14.49</c:v>
                </c:pt>
                <c:pt idx="20">
                  <c:v>14.92</c:v>
                </c:pt>
                <c:pt idx="21">
                  <c:v>15.02</c:v>
                </c:pt>
                <c:pt idx="22">
                  <c:v>14.63</c:v>
                </c:pt>
                <c:pt idx="23">
                  <c:v>14.06</c:v>
                </c:pt>
                <c:pt idx="24">
                  <c:v>14.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9860156122821</c:v>
                </c:pt>
                <c:pt idx="2">
                  <c:v>1.05322439360935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7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1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2.0</c:v>
                </c:pt>
                <c:pt idx="2">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61.0</c:v>
                </c:pt>
                <c:pt idx="2">
                  <c:v>86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0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49467593522721</c:v>
                </c:pt>
                <c:pt idx="2">
                  <c:v>1.00536022823160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6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0</c:v>
                </c:pt>
                <c:pt idx="2">
                  <c:v>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3658.0</c:v>
                </c:pt>
                <c:pt idx="2">
                  <c:v>397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77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83162734556775</c:v>
                </c:pt>
                <c:pt idx="2">
                  <c:v>1.07926688848478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7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1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5.0</c:v>
                </c:pt>
                <c:pt idx="2">
                  <c:v>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545.0</c:v>
                </c:pt>
                <c:pt idx="2">
                  <c:v>293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51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8075365339523</c:v>
                </c:pt>
                <c:pt idx="2">
                  <c:v>1.07414161988899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6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0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3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8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028</c:v>
                </c:pt>
                <c:pt idx="1">
                  <c:v>8326</c:v>
                </c:pt>
                <c:pt idx="2">
                  <c:v>6623</c:v>
                </c:pt>
                <c:pt idx="3">
                  <c:v>6353</c:v>
                </c:pt>
                <c:pt idx="4">
                  <c:v>7544</c:v>
                </c:pt>
                <c:pt idx="5">
                  <c:v>8863</c:v>
                </c:pt>
                <c:pt idx="6">
                  <c:v>19984</c:v>
                </c:pt>
                <c:pt idx="7">
                  <c:v>11182</c:v>
                </c:pt>
                <c:pt idx="8">
                  <c:v>6047</c:v>
                </c:pt>
                <c:pt idx="9">
                  <c:v>7642</c:v>
                </c:pt>
                <c:pt idx="10">
                  <c:v>8108</c:v>
                </c:pt>
                <c:pt idx="11">
                  <c:v>9732</c:v>
                </c:pt>
                <c:pt idx="12">
                  <c:v>8603</c:v>
                </c:pt>
                <c:pt idx="13">
                  <c:v>9393</c:v>
                </c:pt>
                <c:pt idx="14">
                  <c:v>6543</c:v>
                </c:pt>
                <c:pt idx="15">
                  <c:v>6229</c:v>
                </c:pt>
                <c:pt idx="16">
                  <c:v>9013</c:v>
                </c:pt>
                <c:pt idx="17">
                  <c:v>9135</c:v>
                </c:pt>
                <c:pt idx="18">
                  <c:v>18198</c:v>
                </c:pt>
                <c:pt idx="19">
                  <c:v>8901</c:v>
                </c:pt>
                <c:pt idx="20">
                  <c:v>5956</c:v>
                </c:pt>
                <c:pt idx="21">
                  <c:v>6240</c:v>
                </c:pt>
                <c:pt idx="22">
                  <c:v>8519</c:v>
                </c:pt>
                <c:pt idx="23">
                  <c:v>9142</c:v>
                </c:pt>
                <c:pt idx="24">
                  <c:v>88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2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1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2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22</c:v>
                </c:pt>
                <c:pt idx="1">
                  <c:v>13.85</c:v>
                </c:pt>
                <c:pt idx="2">
                  <c:v>14.0</c:v>
                </c:pt>
                <c:pt idx="3">
                  <c:v>14.44</c:v>
                </c:pt>
                <c:pt idx="4">
                  <c:v>14.82</c:v>
                </c:pt>
                <c:pt idx="5">
                  <c:v>13.85</c:v>
                </c:pt>
                <c:pt idx="6">
                  <c:v>13.97</c:v>
                </c:pt>
                <c:pt idx="7">
                  <c:v>14.48</c:v>
                </c:pt>
                <c:pt idx="8">
                  <c:v>15.39</c:v>
                </c:pt>
                <c:pt idx="9">
                  <c:v>14.9</c:v>
                </c:pt>
                <c:pt idx="10">
                  <c:v>14.85</c:v>
                </c:pt>
                <c:pt idx="11">
                  <c:v>15.06</c:v>
                </c:pt>
                <c:pt idx="12">
                  <c:v>14.99</c:v>
                </c:pt>
                <c:pt idx="13">
                  <c:v>14.19</c:v>
                </c:pt>
                <c:pt idx="14">
                  <c:v>13.01</c:v>
                </c:pt>
                <c:pt idx="15">
                  <c:v>13.6</c:v>
                </c:pt>
                <c:pt idx="16">
                  <c:v>12.41</c:v>
                </c:pt>
                <c:pt idx="17">
                  <c:v>13.47</c:v>
                </c:pt>
                <c:pt idx="18">
                  <c:v>13.39</c:v>
                </c:pt>
                <c:pt idx="19">
                  <c:v>14.02</c:v>
                </c:pt>
                <c:pt idx="20">
                  <c:v>14.74</c:v>
                </c:pt>
                <c:pt idx="21">
                  <c:v>14.61</c:v>
                </c:pt>
                <c:pt idx="22">
                  <c:v>14.15</c:v>
                </c:pt>
                <c:pt idx="23">
                  <c:v>13.94</c:v>
                </c:pt>
                <c:pt idx="24">
                  <c:v>14.2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nard Duchê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14.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Charles Voln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3.0</c:v>
                </c:pt>
                <c:pt idx="2">
                  <c:v>1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23958681592327</c:v>
                </c:pt>
                <c:pt idx="2">
                  <c:v>0.96830795125719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nard Duchê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Charles Voln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94.0</c:v>
                </c:pt>
                <c:pt idx="2">
                  <c:v>8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774646361005752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8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1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1.0</c:v>
                </c:pt>
                <c:pt idx="2">
                  <c:v>11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1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4853258090256</c:v>
                </c:pt>
                <c:pt idx="2">
                  <c:v>0.98304841915912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786438735327301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8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8.0</c:v>
                </c:pt>
                <c:pt idx="2">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8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12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7.0</c:v>
                </c:pt>
                <c:pt idx="2">
                  <c:v>13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081487021878</c:v>
                </c:pt>
                <c:pt idx="2">
                  <c:v>0.96605922195477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72847377563823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7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3.0</c:v>
                </c:pt>
                <c:pt idx="2">
                  <c:v>10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0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6.0</c:v>
                </c:pt>
                <c:pt idx="2">
                  <c:v>13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5.0</c:v>
                </c:pt>
                <c:pt idx="2">
                  <c:v>9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62216613155295</c:v>
                </c:pt>
                <c:pt idx="2">
                  <c:v>1.054518386768414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1.0</c:v>
                </c:pt>
                <c:pt idx="2">
                  <c:v>13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10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8859825620389</c:v>
                </c:pt>
                <c:pt idx="2">
                  <c:v>0.95687948831198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65503590649588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10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4.0</c:v>
                </c:pt>
                <c:pt idx="2">
                  <c:v>12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65.0</c:v>
                </c:pt>
                <c:pt idx="2">
                  <c:v>5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83073356989196</c:v>
                </c:pt>
                <c:pt idx="2">
                  <c:v>0.98734451033157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89875608265263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5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143</c:v>
                </c:pt>
                <c:pt idx="1">
                  <c:v>10511</c:v>
                </c:pt>
                <c:pt idx="2">
                  <c:v>8719</c:v>
                </c:pt>
                <c:pt idx="3">
                  <c:v>7122</c:v>
                </c:pt>
                <c:pt idx="4">
                  <c:v>7499</c:v>
                </c:pt>
                <c:pt idx="5">
                  <c:v>10339</c:v>
                </c:pt>
                <c:pt idx="6">
                  <c:v>18192</c:v>
                </c:pt>
                <c:pt idx="7">
                  <c:v>11155</c:v>
                </c:pt>
                <c:pt idx="8">
                  <c:v>6423</c:v>
                </c:pt>
                <c:pt idx="9">
                  <c:v>7680</c:v>
                </c:pt>
                <c:pt idx="10">
                  <c:v>6872</c:v>
                </c:pt>
                <c:pt idx="11">
                  <c:v>7490</c:v>
                </c:pt>
                <c:pt idx="12">
                  <c:v>9587</c:v>
                </c:pt>
                <c:pt idx="13">
                  <c:v>10533</c:v>
                </c:pt>
                <c:pt idx="14">
                  <c:v>8365</c:v>
                </c:pt>
                <c:pt idx="15">
                  <c:v>8020</c:v>
                </c:pt>
                <c:pt idx="16">
                  <c:v>8560</c:v>
                </c:pt>
                <c:pt idx="17">
                  <c:v>8619</c:v>
                </c:pt>
                <c:pt idx="18">
                  <c:v>13373</c:v>
                </c:pt>
                <c:pt idx="19">
                  <c:v>8211</c:v>
                </c:pt>
                <c:pt idx="20">
                  <c:v>5740</c:v>
                </c:pt>
                <c:pt idx="21">
                  <c:v>6821</c:v>
                </c:pt>
                <c:pt idx="22">
                  <c:v>7536</c:v>
                </c:pt>
                <c:pt idx="23">
                  <c:v>7560</c:v>
                </c:pt>
                <c:pt idx="24">
                  <c:v>72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1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4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31</c:v>
                </c:pt>
                <c:pt idx="1">
                  <c:v>13.37</c:v>
                </c:pt>
                <c:pt idx="2">
                  <c:v>13.41</c:v>
                </c:pt>
                <c:pt idx="3">
                  <c:v>13.16</c:v>
                </c:pt>
                <c:pt idx="4">
                  <c:v>13.78</c:v>
                </c:pt>
                <c:pt idx="5">
                  <c:v>12.88</c:v>
                </c:pt>
                <c:pt idx="6">
                  <c:v>13.03</c:v>
                </c:pt>
                <c:pt idx="7">
                  <c:v>13.6</c:v>
                </c:pt>
                <c:pt idx="8">
                  <c:v>14.18</c:v>
                </c:pt>
                <c:pt idx="9">
                  <c:v>13.91</c:v>
                </c:pt>
                <c:pt idx="10">
                  <c:v>13.88</c:v>
                </c:pt>
                <c:pt idx="11">
                  <c:v>14.16</c:v>
                </c:pt>
                <c:pt idx="12">
                  <c:v>14.22</c:v>
                </c:pt>
                <c:pt idx="13">
                  <c:v>13.15</c:v>
                </c:pt>
                <c:pt idx="14">
                  <c:v>13.15</c:v>
                </c:pt>
                <c:pt idx="15">
                  <c:v>13.76</c:v>
                </c:pt>
                <c:pt idx="16">
                  <c:v>12.25</c:v>
                </c:pt>
                <c:pt idx="17">
                  <c:v>13.24</c:v>
                </c:pt>
                <c:pt idx="18">
                  <c:v>13.96</c:v>
                </c:pt>
                <c:pt idx="19">
                  <c:v>14.69</c:v>
                </c:pt>
                <c:pt idx="20">
                  <c:v>14.17</c:v>
                </c:pt>
                <c:pt idx="21">
                  <c:v>14.86</c:v>
                </c:pt>
                <c:pt idx="22">
                  <c:v>14.66</c:v>
                </c:pt>
                <c:pt idx="23">
                  <c:v>14.46</c:v>
                </c:pt>
                <c:pt idx="24">
                  <c:v>14.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7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2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12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1.0</c:v>
                </c:pt>
                <c:pt idx="2">
                  <c:v>10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83650869773727</c:v>
                </c:pt>
                <c:pt idx="2">
                  <c:v>0.961224707290016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8.0</c:v>
                </c:pt>
                <c:pt idx="2">
                  <c:v>9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68979765832013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1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4.0</c:v>
                </c:pt>
                <c:pt idx="2">
                  <c:v>5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2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9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232</c:v>
                </c:pt>
                <c:pt idx="1">
                  <c:v>10316</c:v>
                </c:pt>
                <c:pt idx="2">
                  <c:v>7364</c:v>
                </c:pt>
                <c:pt idx="3">
                  <c:v>7119</c:v>
                </c:pt>
                <c:pt idx="4">
                  <c:v>6692</c:v>
                </c:pt>
                <c:pt idx="5">
                  <c:v>9830</c:v>
                </c:pt>
                <c:pt idx="6">
                  <c:v>19111</c:v>
                </c:pt>
                <c:pt idx="7">
                  <c:v>9965</c:v>
                </c:pt>
                <c:pt idx="8">
                  <c:v>6552</c:v>
                </c:pt>
                <c:pt idx="9">
                  <c:v>10775</c:v>
                </c:pt>
                <c:pt idx="10">
                  <c:v>7313</c:v>
                </c:pt>
                <c:pt idx="11">
                  <c:v>8974</c:v>
                </c:pt>
                <c:pt idx="12">
                  <c:v>8860</c:v>
                </c:pt>
                <c:pt idx="13">
                  <c:v>7908</c:v>
                </c:pt>
                <c:pt idx="14">
                  <c:v>7364</c:v>
                </c:pt>
                <c:pt idx="15">
                  <c:v>7862</c:v>
                </c:pt>
                <c:pt idx="16">
                  <c:v>8989</c:v>
                </c:pt>
                <c:pt idx="17">
                  <c:v>8360</c:v>
                </c:pt>
                <c:pt idx="18">
                  <c:v>15291</c:v>
                </c:pt>
                <c:pt idx="19">
                  <c:v>6683</c:v>
                </c:pt>
                <c:pt idx="20">
                  <c:v>5889</c:v>
                </c:pt>
                <c:pt idx="21">
                  <c:v>7586</c:v>
                </c:pt>
                <c:pt idx="22">
                  <c:v>7149</c:v>
                </c:pt>
                <c:pt idx="23">
                  <c:v>7936</c:v>
                </c:pt>
                <c:pt idx="24">
                  <c:v>70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5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25</c:v>
                </c:pt>
                <c:pt idx="1">
                  <c:v>13.36</c:v>
                </c:pt>
                <c:pt idx="2">
                  <c:v>13.24</c:v>
                </c:pt>
                <c:pt idx="3">
                  <c:v>13.16</c:v>
                </c:pt>
                <c:pt idx="4">
                  <c:v>13.33</c:v>
                </c:pt>
                <c:pt idx="5">
                  <c:v>12.99</c:v>
                </c:pt>
                <c:pt idx="6">
                  <c:v>13.2</c:v>
                </c:pt>
                <c:pt idx="7">
                  <c:v>13.82</c:v>
                </c:pt>
                <c:pt idx="8">
                  <c:v>14.18</c:v>
                </c:pt>
                <c:pt idx="9">
                  <c:v>14.23</c:v>
                </c:pt>
                <c:pt idx="10">
                  <c:v>14.12</c:v>
                </c:pt>
                <c:pt idx="11">
                  <c:v>13.83</c:v>
                </c:pt>
                <c:pt idx="12">
                  <c:v>14.24</c:v>
                </c:pt>
                <c:pt idx="13">
                  <c:v>13.78</c:v>
                </c:pt>
                <c:pt idx="14">
                  <c:v>13.46</c:v>
                </c:pt>
                <c:pt idx="15">
                  <c:v>13.74</c:v>
                </c:pt>
                <c:pt idx="16">
                  <c:v>12.57</c:v>
                </c:pt>
                <c:pt idx="17">
                  <c:v>13.75</c:v>
                </c:pt>
                <c:pt idx="18">
                  <c:v>13.63</c:v>
                </c:pt>
                <c:pt idx="19">
                  <c:v>14.34</c:v>
                </c:pt>
                <c:pt idx="20">
                  <c:v>14.5</c:v>
                </c:pt>
                <c:pt idx="21">
                  <c:v>14.21</c:v>
                </c:pt>
                <c:pt idx="22">
                  <c:v>14.47</c:v>
                </c:pt>
                <c:pt idx="23">
                  <c:v>14.4</c:v>
                </c:pt>
                <c:pt idx="24">
                  <c:v>14.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4432196872597</c:v>
                </c:pt>
                <c:pt idx="2">
                  <c:v>0.9760615409968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80849232797451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9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7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1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1.0</c:v>
                </c:pt>
                <c:pt idx="2">
                  <c:v>13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5.0</c:v>
                </c:pt>
                <c:pt idx="2">
                  <c:v>1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87622628581578</c:v>
                </c:pt>
                <c:pt idx="2">
                  <c:v>0.93875073751615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51000590012921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8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5.0</c:v>
                </c:pt>
                <c:pt idx="2">
                  <c:v>13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4.0</c:v>
                </c:pt>
                <c:pt idx="2">
                  <c:v>5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1.0</c:v>
                </c:pt>
                <c:pt idx="2">
                  <c:v>10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1472072231565</c:v>
                </c:pt>
                <c:pt idx="2">
                  <c:v>0.9692683898380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9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75414711870408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arles Lafi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8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9.0</c:v>
                </c:pt>
                <c:pt idx="2">
                  <c:v>119.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Alfred De Rothschil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8934498743763</c:v>
                </c:pt>
                <c:pt idx="2">
                  <c:v>0.98195265225237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arles Lafi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Alfred De Rothschil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5.0</c:v>
                </c:pt>
                <c:pt idx="2">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785562121801903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1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2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10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5,1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1,9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8,5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5144</c:v>
                </c:pt>
                <c:pt idx="1">
                  <c:v>96519</c:v>
                </c:pt>
                <c:pt idx="2">
                  <c:v>85086</c:v>
                </c:pt>
                <c:pt idx="3">
                  <c:v>90143</c:v>
                </c:pt>
                <c:pt idx="4">
                  <c:v>89311</c:v>
                </c:pt>
                <c:pt idx="5">
                  <c:v>89926</c:v>
                </c:pt>
                <c:pt idx="6">
                  <c:v>163941</c:v>
                </c:pt>
                <c:pt idx="7">
                  <c:v>115862</c:v>
                </c:pt>
                <c:pt idx="8">
                  <c:v>80029</c:v>
                </c:pt>
                <c:pt idx="9">
                  <c:v>94229</c:v>
                </c:pt>
                <c:pt idx="10">
                  <c:v>78566</c:v>
                </c:pt>
                <c:pt idx="11">
                  <c:v>100316</c:v>
                </c:pt>
                <c:pt idx="12">
                  <c:v>103954</c:v>
                </c:pt>
                <c:pt idx="13">
                  <c:v>91984</c:v>
                </c:pt>
                <c:pt idx="14">
                  <c:v>75875</c:v>
                </c:pt>
                <c:pt idx="15">
                  <c:v>89757</c:v>
                </c:pt>
                <c:pt idx="16">
                  <c:v>90738</c:v>
                </c:pt>
                <c:pt idx="17">
                  <c:v>90096</c:v>
                </c:pt>
                <c:pt idx="18">
                  <c:v>138002</c:v>
                </c:pt>
                <c:pt idx="19">
                  <c:v>74011</c:v>
                </c:pt>
                <c:pt idx="20">
                  <c:v>63336</c:v>
                </c:pt>
                <c:pt idx="21">
                  <c:v>71219</c:v>
                </c:pt>
                <c:pt idx="22">
                  <c:v>75614</c:v>
                </c:pt>
                <c:pt idx="23">
                  <c:v>86714</c:v>
                </c:pt>
                <c:pt idx="24">
                  <c:v>885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5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98</c:v>
                </c:pt>
                <c:pt idx="1">
                  <c:v>13.81</c:v>
                </c:pt>
                <c:pt idx="2">
                  <c:v>13.93</c:v>
                </c:pt>
                <c:pt idx="3">
                  <c:v>14.08</c:v>
                </c:pt>
                <c:pt idx="4">
                  <c:v>14.4</c:v>
                </c:pt>
                <c:pt idx="5">
                  <c:v>13.8</c:v>
                </c:pt>
                <c:pt idx="6">
                  <c:v>13.88</c:v>
                </c:pt>
                <c:pt idx="7">
                  <c:v>14.56</c:v>
                </c:pt>
                <c:pt idx="8">
                  <c:v>14.9</c:v>
                </c:pt>
                <c:pt idx="9">
                  <c:v>14.41</c:v>
                </c:pt>
                <c:pt idx="10">
                  <c:v>14.16</c:v>
                </c:pt>
                <c:pt idx="11">
                  <c:v>14.33</c:v>
                </c:pt>
                <c:pt idx="12">
                  <c:v>14.68</c:v>
                </c:pt>
                <c:pt idx="13">
                  <c:v>13.57</c:v>
                </c:pt>
                <c:pt idx="14">
                  <c:v>13.26</c:v>
                </c:pt>
                <c:pt idx="15">
                  <c:v>13.6</c:v>
                </c:pt>
                <c:pt idx="16">
                  <c:v>12.77</c:v>
                </c:pt>
                <c:pt idx="17">
                  <c:v>13.71</c:v>
                </c:pt>
                <c:pt idx="18">
                  <c:v>13.72</c:v>
                </c:pt>
                <c:pt idx="19">
                  <c:v>14.53</c:v>
                </c:pt>
                <c:pt idx="20">
                  <c:v>14.75</c:v>
                </c:pt>
                <c:pt idx="21">
                  <c:v>14.86</c:v>
                </c:pt>
                <c:pt idx="22">
                  <c:v>14.4</c:v>
                </c:pt>
                <c:pt idx="23">
                  <c:v>14.31</c:v>
                </c:pt>
                <c:pt idx="24">
                  <c:v>14.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13792694884083</c:v>
                </c:pt>
                <c:pt idx="2">
                  <c:v>1.0247115610817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8.0</c:v>
                </c:pt>
                <c:pt idx="2">
                  <c:v>8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8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12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8.0</c:v>
                </c:pt>
                <c:pt idx="2">
                  <c:v>1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11506877342435</c:v>
                </c:pt>
                <c:pt idx="2">
                  <c:v>0.998708851420263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896708113621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8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11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0.0</c:v>
                </c:pt>
                <c:pt idx="2">
                  <c:v>14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58116661544</c:v>
                </c:pt>
                <c:pt idx="2">
                  <c:v>1.01093995009298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7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3.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7.0</c:v>
                </c:pt>
                <c:pt idx="2">
                  <c:v>13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5.0</c:v>
                </c:pt>
                <c:pt idx="2">
                  <c:v>9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76852006270638</c:v>
                </c:pt>
                <c:pt idx="2">
                  <c:v>1.067015776658550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8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12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4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26633127043603</c:v>
                </c:pt>
                <c:pt idx="2">
                  <c:v>0.99927903843725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94232307498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1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9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3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0709708780766</c:v>
                </c:pt>
                <c:pt idx="2">
                  <c:v>1.01036096749009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9.0</c:v>
                </c:pt>
                <c:pt idx="2">
                  <c:v>9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8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3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6.0</c:v>
                </c:pt>
                <c:pt idx="2">
                  <c:v>1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77867225074209</c:v>
                </c:pt>
                <c:pt idx="2">
                  <c:v>0.985345363312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8827629064970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6.0</c:v>
                </c:pt>
                <c:pt idx="2">
                  <c:v>13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5.0</c:v>
                </c:pt>
                <c:pt idx="2">
                  <c:v>5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2.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75730221635109</c:v>
                </c:pt>
                <c:pt idx="2">
                  <c:v>1.01127623660648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9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79,2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45,6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1,298,16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1179285</c:v>
                </c:pt>
                <c:pt idx="1">
                  <c:v>1215201</c:v>
                </c:pt>
                <c:pt idx="2">
                  <c:v>1238956</c:v>
                </c:pt>
                <c:pt idx="3">
                  <c:v>1587567</c:v>
                </c:pt>
                <c:pt idx="4">
                  <c:v>3040844</c:v>
                </c:pt>
                <c:pt idx="5">
                  <c:v>1592744</c:v>
                </c:pt>
                <c:pt idx="6">
                  <c:v>1030553</c:v>
                </c:pt>
                <c:pt idx="7">
                  <c:v>1104151</c:v>
                </c:pt>
                <c:pt idx="8">
                  <c:v>1078282</c:v>
                </c:pt>
                <c:pt idx="9">
                  <c:v>1220931</c:v>
                </c:pt>
                <c:pt idx="10">
                  <c:v>1179573</c:v>
                </c:pt>
                <c:pt idx="11">
                  <c:v>1279379</c:v>
                </c:pt>
                <c:pt idx="12">
                  <c:v>1212603</c:v>
                </c:pt>
                <c:pt idx="13">
                  <c:v>1245615</c:v>
                </c:pt>
                <c:pt idx="14">
                  <c:v>1303412</c:v>
                </c:pt>
                <c:pt idx="15">
                  <c:v>1369047</c:v>
                </c:pt>
                <c:pt idx="16">
                  <c:v>2530693</c:v>
                </c:pt>
                <c:pt idx="17">
                  <c:v>1287129</c:v>
                </c:pt>
                <c:pt idx="18">
                  <c:v>1076478</c:v>
                </c:pt>
                <c:pt idx="19">
                  <c:v>1164150</c:v>
                </c:pt>
                <c:pt idx="20">
                  <c:v>1157478</c:v>
                </c:pt>
                <c:pt idx="21">
                  <c:v>1293776</c:v>
                </c:pt>
                <c:pt idx="22">
                  <c:v>12981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1.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5.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66.51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71.25</c:v>
                </c:pt>
                <c:pt idx="1">
                  <c:v>73.61</c:v>
                </c:pt>
                <c:pt idx="2">
                  <c:v>72.56</c:v>
                </c:pt>
                <c:pt idx="3">
                  <c:v>75.72</c:v>
                </c:pt>
                <c:pt idx="4">
                  <c:v>87.86</c:v>
                </c:pt>
                <c:pt idx="5">
                  <c:v>74.93</c:v>
                </c:pt>
                <c:pt idx="6">
                  <c:v>70.37</c:v>
                </c:pt>
                <c:pt idx="7">
                  <c:v>70.32</c:v>
                </c:pt>
                <c:pt idx="8">
                  <c:v>67.34</c:v>
                </c:pt>
                <c:pt idx="9">
                  <c:v>69.45</c:v>
                </c:pt>
                <c:pt idx="10">
                  <c:v>72.62</c:v>
                </c:pt>
                <c:pt idx="11">
                  <c:v>69.23</c:v>
                </c:pt>
                <c:pt idx="12">
                  <c:v>65.06</c:v>
                </c:pt>
                <c:pt idx="13">
                  <c:v>65.95</c:v>
                </c:pt>
                <c:pt idx="14">
                  <c:v>67.13</c:v>
                </c:pt>
                <c:pt idx="15">
                  <c:v>68.67</c:v>
                </c:pt>
                <c:pt idx="16">
                  <c:v>78.7</c:v>
                </c:pt>
                <c:pt idx="17">
                  <c:v>64.44</c:v>
                </c:pt>
                <c:pt idx="18">
                  <c:v>64.09</c:v>
                </c:pt>
                <c:pt idx="19">
                  <c:v>63.75</c:v>
                </c:pt>
                <c:pt idx="20">
                  <c:v>64.42</c:v>
                </c:pt>
                <c:pt idx="21">
                  <c:v>63.79</c:v>
                </c:pt>
                <c:pt idx="22">
                  <c:v>66.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83.0</c:v>
                </c:pt>
                <c:pt idx="2">
                  <c:v>25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0.0</c:v>
                </c:pt>
                <c:pt idx="2">
                  <c:v>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39.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151919342973263</c:v>
                </c:pt>
                <c:pt idx="2">
                  <c:v>1.32377983333132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45.0</c:v>
                </c:pt>
                <c:pt idx="2">
                  <c:v>22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6.0</c:v>
                </c:pt>
                <c:pt idx="2">
                  <c:v>3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9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273470960392667</c:v>
                </c:pt>
                <c:pt idx="2">
                  <c:v>1.4065321666489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76.0</c:v>
                </c:pt>
                <c:pt idx="2">
                  <c:v>16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4.0</c:v>
                </c:pt>
                <c:pt idx="2">
                  <c:v>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09703202843293</c:v>
                </c:pt>
                <c:pt idx="2">
                  <c:v>1.367444916372214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87.0</c:v>
                </c:pt>
                <c:pt idx="2">
                  <c:v>26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4.0</c:v>
                </c:pt>
                <c:pt idx="2">
                  <c:v>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4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774964098503072</c:v>
                </c:pt>
                <c:pt idx="2">
                  <c:v>1.40799465762086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76.0</c:v>
                </c:pt>
                <c:pt idx="2">
                  <c:v>26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9.0</c:v>
                </c:pt>
                <c:pt idx="2">
                  <c:v>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3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25441657710746</c:v>
                </c:pt>
                <c:pt idx="2">
                  <c:v>1.29785178655525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9.0</c:v>
                </c:pt>
                <c:pt idx="2">
                  <c:v>12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0</c:v>
                </c:pt>
                <c:pt idx="2">
                  <c:v>5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7285861989533</c:v>
                </c:pt>
                <c:pt idx="2">
                  <c:v>1.06558202574638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793382868959162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yre'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5.0</c:v>
                </c:pt>
                <c:pt idx="2">
                  <c:v>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083491008984006</c:v>
                </c:pt>
                <c:pt idx="2">
                  <c:v>1.40207991702756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yre'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1.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372.0</c:v>
                </c:pt>
                <c:pt idx="2">
                  <c:v>3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9.0</c:v>
                </c:pt>
                <c:pt idx="2">
                  <c:v>3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3163230167888016</c:v>
                </c:pt>
                <c:pt idx="2">
                  <c:v>1.42693941169718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58.0</c:v>
                </c:pt>
                <c:pt idx="2">
                  <c:v>2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0.0</c:v>
                </c:pt>
                <c:pt idx="2">
                  <c:v>4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09.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125844875831733</c:v>
                </c:pt>
                <c:pt idx="2">
                  <c:v>1.2883472855899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483.0</c:v>
                </c:pt>
                <c:pt idx="2">
                  <c:v>53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8.0</c:v>
                </c:pt>
                <c:pt idx="2">
                  <c:v>3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64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284215722571887</c:v>
                </c:pt>
                <c:pt idx="2">
                  <c:v>1.3631432802665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5,7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8,3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2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25704</c:v>
                </c:pt>
                <c:pt idx="1">
                  <c:v>119906</c:v>
                </c:pt>
                <c:pt idx="2">
                  <c:v>110185</c:v>
                </c:pt>
                <c:pt idx="3">
                  <c:v>115269</c:v>
                </c:pt>
                <c:pt idx="4">
                  <c:v>102206</c:v>
                </c:pt>
                <c:pt idx="5">
                  <c:v>125761</c:v>
                </c:pt>
                <c:pt idx="6">
                  <c:v>247016</c:v>
                </c:pt>
                <c:pt idx="7">
                  <c:v>138513</c:v>
                </c:pt>
                <c:pt idx="8">
                  <c:v>72211</c:v>
                </c:pt>
                <c:pt idx="9">
                  <c:v>118447</c:v>
                </c:pt>
                <c:pt idx="10">
                  <c:v>85416</c:v>
                </c:pt>
                <c:pt idx="11">
                  <c:v>94855</c:v>
                </c:pt>
                <c:pt idx="12">
                  <c:v>92865</c:v>
                </c:pt>
                <c:pt idx="13">
                  <c:v>78312</c:v>
                </c:pt>
                <c:pt idx="14">
                  <c:v>59558</c:v>
                </c:pt>
                <c:pt idx="15">
                  <c:v>78671</c:v>
                </c:pt>
                <c:pt idx="16">
                  <c:v>79356</c:v>
                </c:pt>
                <c:pt idx="17">
                  <c:v>78307</c:v>
                </c:pt>
                <c:pt idx="18">
                  <c:v>173582</c:v>
                </c:pt>
                <c:pt idx="19">
                  <c:v>98543</c:v>
                </c:pt>
                <c:pt idx="20">
                  <c:v>68780</c:v>
                </c:pt>
                <c:pt idx="21">
                  <c:v>62359</c:v>
                </c:pt>
                <c:pt idx="22">
                  <c:v>60584</c:v>
                </c:pt>
                <c:pt idx="23">
                  <c:v>61626</c:v>
                </c:pt>
                <c:pt idx="24">
                  <c:v>722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4.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0.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8.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14.48</c:v>
                </c:pt>
                <c:pt idx="1">
                  <c:v>114.31</c:v>
                </c:pt>
                <c:pt idx="2">
                  <c:v>117.22</c:v>
                </c:pt>
                <c:pt idx="3">
                  <c:v>115.27</c:v>
                </c:pt>
                <c:pt idx="4">
                  <c:v>112.81</c:v>
                </c:pt>
                <c:pt idx="5">
                  <c:v>104.89</c:v>
                </c:pt>
                <c:pt idx="6">
                  <c:v>114.47</c:v>
                </c:pt>
                <c:pt idx="7">
                  <c:v>110.46</c:v>
                </c:pt>
                <c:pt idx="8">
                  <c:v>113.01</c:v>
                </c:pt>
                <c:pt idx="9">
                  <c:v>117.39</c:v>
                </c:pt>
                <c:pt idx="10">
                  <c:v>112.39</c:v>
                </c:pt>
                <c:pt idx="11">
                  <c:v>113.87</c:v>
                </c:pt>
                <c:pt idx="12">
                  <c:v>116.96</c:v>
                </c:pt>
                <c:pt idx="13">
                  <c:v>110.61</c:v>
                </c:pt>
                <c:pt idx="14">
                  <c:v>121.3</c:v>
                </c:pt>
                <c:pt idx="15">
                  <c:v>106.6</c:v>
                </c:pt>
                <c:pt idx="16">
                  <c:v>115.01</c:v>
                </c:pt>
                <c:pt idx="17">
                  <c:v>115.16</c:v>
                </c:pt>
                <c:pt idx="18">
                  <c:v>114.5</c:v>
                </c:pt>
                <c:pt idx="19">
                  <c:v>116.34</c:v>
                </c:pt>
                <c:pt idx="20">
                  <c:v>111.11</c:v>
                </c:pt>
                <c:pt idx="21">
                  <c:v>105.16</c:v>
                </c:pt>
                <c:pt idx="22">
                  <c:v>110.35</c:v>
                </c:pt>
                <c:pt idx="23">
                  <c:v>102.54</c:v>
                </c:pt>
                <c:pt idx="24">
                  <c:v>108.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2.0</c:v>
                </c:pt>
                <c:pt idx="2">
                  <c:v>10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3.0</c:v>
                </c:pt>
                <c:pt idx="2">
                  <c:v>12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8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1.0</c:v>
                </c:pt>
                <c:pt idx="2">
                  <c:v>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rench Bloom Sa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0.0</c:v>
                </c:pt>
                <c:pt idx="2">
                  <c:v>9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965819927627</c:v>
                </c:pt>
                <c:pt idx="2">
                  <c:v>1.0439468309985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rench Bloom Sa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1.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1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48.0</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avia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12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5734777618167</c:v>
                </c:pt>
                <c:pt idx="2">
                  <c:v>1.03046881980576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avia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93258782209453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8,2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0,0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7,8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8243</c:v>
                </c:pt>
                <c:pt idx="1">
                  <c:v>60831</c:v>
                </c:pt>
                <c:pt idx="2">
                  <c:v>58377</c:v>
                </c:pt>
                <c:pt idx="3">
                  <c:v>41673</c:v>
                </c:pt>
                <c:pt idx="4">
                  <c:v>41588</c:v>
                </c:pt>
                <c:pt idx="5">
                  <c:v>107624</c:v>
                </c:pt>
                <c:pt idx="6">
                  <c:v>221538</c:v>
                </c:pt>
                <c:pt idx="7">
                  <c:v>75588</c:v>
                </c:pt>
                <c:pt idx="8">
                  <c:v>38252</c:v>
                </c:pt>
                <c:pt idx="9">
                  <c:v>43549</c:v>
                </c:pt>
                <c:pt idx="10">
                  <c:v>28430</c:v>
                </c:pt>
                <c:pt idx="11">
                  <c:v>41029</c:v>
                </c:pt>
                <c:pt idx="12">
                  <c:v>47277</c:v>
                </c:pt>
                <c:pt idx="13">
                  <c:v>50099</c:v>
                </c:pt>
                <c:pt idx="14">
                  <c:v>39449</c:v>
                </c:pt>
                <c:pt idx="15">
                  <c:v>33747</c:v>
                </c:pt>
                <c:pt idx="16">
                  <c:v>35617</c:v>
                </c:pt>
                <c:pt idx="17">
                  <c:v>45268</c:v>
                </c:pt>
                <c:pt idx="18">
                  <c:v>150133</c:v>
                </c:pt>
                <c:pt idx="19">
                  <c:v>33053</c:v>
                </c:pt>
                <c:pt idx="20">
                  <c:v>33664</c:v>
                </c:pt>
                <c:pt idx="21">
                  <c:v>34533</c:v>
                </c:pt>
                <c:pt idx="22">
                  <c:v>37202</c:v>
                </c:pt>
                <c:pt idx="23">
                  <c:v>49954</c:v>
                </c:pt>
                <c:pt idx="24">
                  <c:v>4788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07.2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6.1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8.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07.26</c:v>
                </c:pt>
                <c:pt idx="1">
                  <c:v>104.34</c:v>
                </c:pt>
                <c:pt idx="2">
                  <c:v>104.43</c:v>
                </c:pt>
                <c:pt idx="3">
                  <c:v>108.81</c:v>
                </c:pt>
                <c:pt idx="4">
                  <c:v>105.02</c:v>
                </c:pt>
                <c:pt idx="5">
                  <c:v>110.95</c:v>
                </c:pt>
                <c:pt idx="6">
                  <c:v>107.96</c:v>
                </c:pt>
                <c:pt idx="7">
                  <c:v>103.12</c:v>
                </c:pt>
                <c:pt idx="8">
                  <c:v>115.22</c:v>
                </c:pt>
                <c:pt idx="9">
                  <c:v>114.6</c:v>
                </c:pt>
                <c:pt idx="10">
                  <c:v>91.71</c:v>
                </c:pt>
                <c:pt idx="11">
                  <c:v>102.57</c:v>
                </c:pt>
                <c:pt idx="12">
                  <c:v>110.2</c:v>
                </c:pt>
                <c:pt idx="13">
                  <c:v>106.14</c:v>
                </c:pt>
                <c:pt idx="14">
                  <c:v>106.91</c:v>
                </c:pt>
                <c:pt idx="15">
                  <c:v>108.86</c:v>
                </c:pt>
                <c:pt idx="16">
                  <c:v>112.71</c:v>
                </c:pt>
                <c:pt idx="17">
                  <c:v>106.76</c:v>
                </c:pt>
                <c:pt idx="18">
                  <c:v>106.7</c:v>
                </c:pt>
                <c:pt idx="19">
                  <c:v>102.33</c:v>
                </c:pt>
                <c:pt idx="20">
                  <c:v>107.9</c:v>
                </c:pt>
                <c:pt idx="21">
                  <c:v>106.58</c:v>
                </c:pt>
                <c:pt idx="22">
                  <c:v>110.72</c:v>
                </c:pt>
                <c:pt idx="23">
                  <c:v>102.79</c:v>
                </c:pt>
                <c:pt idx="24">
                  <c:v>108.5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47.0</c:v>
                </c:pt>
                <c:pt idx="2">
                  <c:v>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73306921234344</c:v>
                </c:pt>
                <c:pt idx="2">
                  <c:v>1.04577863008309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7864553698747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1.0</c:v>
                </c:pt>
                <c:pt idx="2">
                  <c:v>1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12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49.0</c:v>
                </c:pt>
                <c:pt idx="2">
                  <c:v>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avia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5.0</c:v>
                </c:pt>
                <c:pt idx="2">
                  <c:v>13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53578872192504</c:v>
                </c:pt>
                <c:pt idx="2">
                  <c:v>1.05837256416609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avia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7.0</c:v>
                </c:pt>
                <c:pt idx="2">
                  <c:v>8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9628630977540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5.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1.0</c:v>
                </c:pt>
                <c:pt idx="2">
                  <c:v>7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11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41.0</c:v>
                </c:pt>
                <c:pt idx="2">
                  <c:v>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02263412202043</c:v>
                </c:pt>
                <c:pt idx="2">
                  <c:v>1.01532404114761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9.0</c:v>
                </c:pt>
                <c:pt idx="2">
                  <c:v>9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92181072976163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9.0</c:v>
                </c:pt>
                <c:pt idx="2">
                  <c:v>13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2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4.0</c:v>
                </c:pt>
                <c:pt idx="2">
                  <c:v>6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rench Bloom Sa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8.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16566161988699</c:v>
                </c:pt>
                <c:pt idx="2">
                  <c:v>1.0835722378957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rench Bloom Sa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1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6.0</c:v>
                </c:pt>
                <c:pt idx="2">
                  <c:v>7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3.0</c:v>
                </c:pt>
                <c:pt idx="2">
                  <c:v>6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2.0</c:v>
                </c:pt>
                <c:pt idx="2">
                  <c:v>9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45.0</c:v>
                </c:pt>
                <c:pt idx="2">
                  <c:v>18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2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02376172508256</c:v>
                </c:pt>
                <c:pt idx="2">
                  <c:v>0.82549699251872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66039759401497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9.0</c:v>
                </c:pt>
                <c:pt idx="2">
                  <c:v>11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8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8.0</c:v>
                </c:pt>
                <c:pt idx="2">
                  <c:v>8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43.0</c:v>
                </c:pt>
                <c:pt idx="2">
                  <c:v>14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4.0</c:v>
                </c:pt>
                <c:pt idx="2">
                  <c:v>13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89252944257148</c:v>
                </c:pt>
                <c:pt idx="2">
                  <c:v>0.9541451689561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1.0</c:v>
                </c:pt>
                <c:pt idx="2">
                  <c:v>9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63316135164889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9.0</c:v>
                </c:pt>
                <c:pt idx="2">
                  <c:v>4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52.0</c:v>
                </c:pt>
                <c:pt idx="2">
                  <c:v>11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2.0</c:v>
                </c:pt>
                <c:pt idx="2">
                  <c:v>14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4.0</c:v>
                </c:pt>
                <c:pt idx="2">
                  <c:v>12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43001444919335</c:v>
                </c:pt>
                <c:pt idx="2">
                  <c:v>1.00955526484175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1.0</c:v>
                </c:pt>
                <c:pt idx="2">
                  <c:v>12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1.0</c:v>
                </c:pt>
                <c:pt idx="2">
                  <c:v>9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6.0</c:v>
                </c:pt>
                <c:pt idx="2">
                  <c:v>13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8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0,5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8,3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6,1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0579</c:v>
                </c:pt>
                <c:pt idx="1">
                  <c:v>139677</c:v>
                </c:pt>
                <c:pt idx="2">
                  <c:v>110306</c:v>
                </c:pt>
                <c:pt idx="3">
                  <c:v>74064</c:v>
                </c:pt>
                <c:pt idx="4">
                  <c:v>56138</c:v>
                </c:pt>
                <c:pt idx="5">
                  <c:v>70703</c:v>
                </c:pt>
                <c:pt idx="6">
                  <c:v>285020</c:v>
                </c:pt>
                <c:pt idx="7">
                  <c:v>80509</c:v>
                </c:pt>
                <c:pt idx="8">
                  <c:v>50507</c:v>
                </c:pt>
                <c:pt idx="9">
                  <c:v>54945</c:v>
                </c:pt>
                <c:pt idx="10">
                  <c:v>50580</c:v>
                </c:pt>
                <c:pt idx="11">
                  <c:v>103279</c:v>
                </c:pt>
                <c:pt idx="12">
                  <c:v>81316</c:v>
                </c:pt>
                <c:pt idx="13">
                  <c:v>128351</c:v>
                </c:pt>
                <c:pt idx="14">
                  <c:v>106974</c:v>
                </c:pt>
                <c:pt idx="15">
                  <c:v>64285</c:v>
                </c:pt>
                <c:pt idx="16">
                  <c:v>53134</c:v>
                </c:pt>
                <c:pt idx="17">
                  <c:v>51101</c:v>
                </c:pt>
                <c:pt idx="18">
                  <c:v>186189</c:v>
                </c:pt>
                <c:pt idx="19">
                  <c:v>45528</c:v>
                </c:pt>
                <c:pt idx="20">
                  <c:v>37558</c:v>
                </c:pt>
                <c:pt idx="21">
                  <c:v>48261</c:v>
                </c:pt>
                <c:pt idx="22">
                  <c:v>62652</c:v>
                </c:pt>
                <c:pt idx="23">
                  <c:v>84167</c:v>
                </c:pt>
                <c:pt idx="24">
                  <c:v>861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0.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5.3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6.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10.58</c:v>
                </c:pt>
                <c:pt idx="1">
                  <c:v>112.64</c:v>
                </c:pt>
                <c:pt idx="2">
                  <c:v>107.51</c:v>
                </c:pt>
                <c:pt idx="3">
                  <c:v>104.61</c:v>
                </c:pt>
                <c:pt idx="4">
                  <c:v>102.63</c:v>
                </c:pt>
                <c:pt idx="5">
                  <c:v>96.99</c:v>
                </c:pt>
                <c:pt idx="6">
                  <c:v>105.56</c:v>
                </c:pt>
                <c:pt idx="7">
                  <c:v>97.94</c:v>
                </c:pt>
                <c:pt idx="8">
                  <c:v>109.32</c:v>
                </c:pt>
                <c:pt idx="9">
                  <c:v>109.89</c:v>
                </c:pt>
                <c:pt idx="10">
                  <c:v>90.32</c:v>
                </c:pt>
                <c:pt idx="11">
                  <c:v>98.36</c:v>
                </c:pt>
                <c:pt idx="12">
                  <c:v>112.63</c:v>
                </c:pt>
                <c:pt idx="13">
                  <c:v>115.32</c:v>
                </c:pt>
                <c:pt idx="14">
                  <c:v>110.97</c:v>
                </c:pt>
                <c:pt idx="15">
                  <c:v>108.04</c:v>
                </c:pt>
                <c:pt idx="16">
                  <c:v>109.33</c:v>
                </c:pt>
                <c:pt idx="17">
                  <c:v>100.39</c:v>
                </c:pt>
                <c:pt idx="18">
                  <c:v>103.04</c:v>
                </c:pt>
                <c:pt idx="19">
                  <c:v>91.98</c:v>
                </c:pt>
                <c:pt idx="20">
                  <c:v>102.34</c:v>
                </c:pt>
                <c:pt idx="21">
                  <c:v>105.14</c:v>
                </c:pt>
                <c:pt idx="22">
                  <c:v>116.24</c:v>
                </c:pt>
                <c:pt idx="23">
                  <c:v>105.08</c:v>
                </c:pt>
                <c:pt idx="24">
                  <c:v>106.9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09791644862536</c:v>
                </c:pt>
                <c:pt idx="2">
                  <c:v>0.9801177115205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84094169216467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5.0</c:v>
                </c:pt>
                <c:pt idx="2">
                  <c:v>4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2.0</c:v>
                </c:pt>
                <c:pt idx="2">
                  <c:v>14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45.0</c:v>
                </c:pt>
                <c:pt idx="2">
                  <c:v>16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0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1269326964021</c:v>
                </c:pt>
                <c:pt idx="2">
                  <c:v>0.97227880751591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uinar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sserat De Bellefon</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2.0</c:v>
                </c:pt>
                <c:pt idx="2">
                  <c:v>12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0.777823046012735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5.0</c:v>
                </c:pt>
                <c:pt idx="2">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8.0</c:v>
                </c:pt>
                <c:pt idx="2">
                  <c:v>9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2.0</c:v>
                </c:pt>
                <c:pt idx="2">
                  <c:v>12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3.0</c:v>
                </c:pt>
                <c:pt idx="2">
                  <c:v>12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9,5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6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7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9502</c:v>
                </c:pt>
                <c:pt idx="1">
                  <c:v>37459</c:v>
                </c:pt>
                <c:pt idx="2">
                  <c:v>28803</c:v>
                </c:pt>
                <c:pt idx="3">
                  <c:v>29006</c:v>
                </c:pt>
                <c:pt idx="4">
                  <c:v>28538</c:v>
                </c:pt>
                <c:pt idx="5">
                  <c:v>42928</c:v>
                </c:pt>
                <c:pt idx="6">
                  <c:v>148481</c:v>
                </c:pt>
                <c:pt idx="7">
                  <c:v>68465</c:v>
                </c:pt>
                <c:pt idx="8">
                  <c:v>33086</c:v>
                </c:pt>
                <c:pt idx="9">
                  <c:v>29581</c:v>
                </c:pt>
                <c:pt idx="10">
                  <c:v>26760</c:v>
                </c:pt>
                <c:pt idx="11">
                  <c:v>29705</c:v>
                </c:pt>
                <c:pt idx="12">
                  <c:v>28641</c:v>
                </c:pt>
                <c:pt idx="13">
                  <c:v>30675</c:v>
                </c:pt>
                <c:pt idx="14">
                  <c:v>25939</c:v>
                </c:pt>
                <c:pt idx="15">
                  <c:v>25161</c:v>
                </c:pt>
                <c:pt idx="16">
                  <c:v>22995</c:v>
                </c:pt>
                <c:pt idx="17">
                  <c:v>36126</c:v>
                </c:pt>
                <c:pt idx="18">
                  <c:v>123431</c:v>
                </c:pt>
                <c:pt idx="19">
                  <c:v>39946</c:v>
                </c:pt>
                <c:pt idx="20">
                  <c:v>31326</c:v>
                </c:pt>
                <c:pt idx="21">
                  <c:v>25591</c:v>
                </c:pt>
                <c:pt idx="22">
                  <c:v>24498</c:v>
                </c:pt>
                <c:pt idx="23">
                  <c:v>26033</c:v>
                </c:pt>
                <c:pt idx="24">
                  <c:v>277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4.1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0.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99.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14.17</c:v>
                </c:pt>
                <c:pt idx="1">
                  <c:v>95.32</c:v>
                </c:pt>
                <c:pt idx="2">
                  <c:v>92.91</c:v>
                </c:pt>
                <c:pt idx="3">
                  <c:v>102.86</c:v>
                </c:pt>
                <c:pt idx="4">
                  <c:v>98.41</c:v>
                </c:pt>
                <c:pt idx="5">
                  <c:v>91.53</c:v>
                </c:pt>
                <c:pt idx="6">
                  <c:v>102.19</c:v>
                </c:pt>
                <c:pt idx="7">
                  <c:v>96.84</c:v>
                </c:pt>
                <c:pt idx="8">
                  <c:v>104.04</c:v>
                </c:pt>
                <c:pt idx="9">
                  <c:v>103.07</c:v>
                </c:pt>
                <c:pt idx="10">
                  <c:v>92.92</c:v>
                </c:pt>
                <c:pt idx="11">
                  <c:v>88.41</c:v>
                </c:pt>
                <c:pt idx="12">
                  <c:v>101.2</c:v>
                </c:pt>
                <c:pt idx="13">
                  <c:v>100.25</c:v>
                </c:pt>
                <c:pt idx="14">
                  <c:v>94.67</c:v>
                </c:pt>
                <c:pt idx="15">
                  <c:v>95.31</c:v>
                </c:pt>
                <c:pt idx="16">
                  <c:v>101.75</c:v>
                </c:pt>
                <c:pt idx="17">
                  <c:v>102.34</c:v>
                </c:pt>
                <c:pt idx="18">
                  <c:v>99.22</c:v>
                </c:pt>
                <c:pt idx="19">
                  <c:v>102.16</c:v>
                </c:pt>
                <c:pt idx="20">
                  <c:v>103.05</c:v>
                </c:pt>
                <c:pt idx="21">
                  <c:v>97.68</c:v>
                </c:pt>
                <c:pt idx="22">
                  <c:v>100.81</c:v>
                </c:pt>
                <c:pt idx="23">
                  <c:v>86.49</c:v>
                </c:pt>
                <c:pt idx="24">
                  <c:v>99.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76115573351425</c:v>
                </c:pt>
                <c:pt idx="2">
                  <c:v>1.004258267355354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3.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1.0</c:v>
                </c:pt>
                <c:pt idx="2">
                  <c:v>7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9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8.0</c:v>
                </c:pt>
                <c:pt idx="2">
                  <c:v>6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0.0</c:v>
                </c:pt>
                <c:pt idx="2">
                  <c:v>13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8.0</c:v>
                </c:pt>
                <c:pt idx="2">
                  <c:v>1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0251552268854</c:v>
                </c:pt>
                <c:pt idx="2">
                  <c:v>0.9803183272372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4.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784201241815083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6.0</c:v>
                </c:pt>
                <c:pt idx="2">
                  <c:v>1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8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69.0</c:v>
                </c:pt>
                <c:pt idx="2">
                  <c:v>12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4.0</c:v>
                </c:pt>
                <c:pt idx="2">
                  <c:v>14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44276869756235</c:v>
                </c:pt>
                <c:pt idx="2">
                  <c:v>0.91597110138406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732776881107254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3.0</c:v>
                </c:pt>
                <c:pt idx="2">
                  <c:v>8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4.0</c:v>
                </c:pt>
                <c:pt idx="2">
                  <c:v>6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7.0</c:v>
                </c:pt>
                <c:pt idx="2">
                  <c:v>15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3.0</c:v>
                </c:pt>
                <c:pt idx="2">
                  <c:v>25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0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9,1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5,4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4,6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49181</c:v>
                </c:pt>
                <c:pt idx="1">
                  <c:v>328597</c:v>
                </c:pt>
                <c:pt idx="2">
                  <c:v>367010</c:v>
                </c:pt>
                <c:pt idx="3">
                  <c:v>216424</c:v>
                </c:pt>
                <c:pt idx="4">
                  <c:v>178376</c:v>
                </c:pt>
                <c:pt idx="5">
                  <c:v>197201</c:v>
                </c:pt>
                <c:pt idx="6">
                  <c:v>646201</c:v>
                </c:pt>
                <c:pt idx="7">
                  <c:v>253135</c:v>
                </c:pt>
                <c:pt idx="8">
                  <c:v>110993</c:v>
                </c:pt>
                <c:pt idx="9">
                  <c:v>139615</c:v>
                </c:pt>
                <c:pt idx="10">
                  <c:v>143932</c:v>
                </c:pt>
                <c:pt idx="11">
                  <c:v>245046</c:v>
                </c:pt>
                <c:pt idx="12">
                  <c:v>215428</c:v>
                </c:pt>
                <c:pt idx="13">
                  <c:v>325465</c:v>
                </c:pt>
                <c:pt idx="14">
                  <c:v>360517</c:v>
                </c:pt>
                <c:pt idx="15">
                  <c:v>190934</c:v>
                </c:pt>
                <c:pt idx="16">
                  <c:v>192560</c:v>
                </c:pt>
                <c:pt idx="17">
                  <c:v>174810</c:v>
                </c:pt>
                <c:pt idx="18">
                  <c:v>554749</c:v>
                </c:pt>
                <c:pt idx="19">
                  <c:v>128714</c:v>
                </c:pt>
                <c:pt idx="20">
                  <c:v>107918</c:v>
                </c:pt>
                <c:pt idx="21">
                  <c:v>130252</c:v>
                </c:pt>
                <c:pt idx="22">
                  <c:v>163584</c:v>
                </c:pt>
                <c:pt idx="23">
                  <c:v>201270</c:v>
                </c:pt>
                <c:pt idx="24">
                  <c:v>23462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9.9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2.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2.3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9.9</c:v>
                </c:pt>
                <c:pt idx="1">
                  <c:v>52.72</c:v>
                </c:pt>
                <c:pt idx="2">
                  <c:v>48.32</c:v>
                </c:pt>
                <c:pt idx="3">
                  <c:v>44.94</c:v>
                </c:pt>
                <c:pt idx="4">
                  <c:v>46.13</c:v>
                </c:pt>
                <c:pt idx="5">
                  <c:v>43.07</c:v>
                </c:pt>
                <c:pt idx="6">
                  <c:v>47.48</c:v>
                </c:pt>
                <c:pt idx="7">
                  <c:v>45.47</c:v>
                </c:pt>
                <c:pt idx="8">
                  <c:v>41.77</c:v>
                </c:pt>
                <c:pt idx="9">
                  <c:v>42.29</c:v>
                </c:pt>
                <c:pt idx="10">
                  <c:v>44.44</c:v>
                </c:pt>
                <c:pt idx="11">
                  <c:v>50.38</c:v>
                </c:pt>
                <c:pt idx="12">
                  <c:v>49.17</c:v>
                </c:pt>
                <c:pt idx="13">
                  <c:v>52.3</c:v>
                </c:pt>
                <c:pt idx="14">
                  <c:v>48.78</c:v>
                </c:pt>
                <c:pt idx="15">
                  <c:v>44.68</c:v>
                </c:pt>
                <c:pt idx="16">
                  <c:v>43.97</c:v>
                </c:pt>
                <c:pt idx="17">
                  <c:v>45.0</c:v>
                </c:pt>
                <c:pt idx="18">
                  <c:v>48.95</c:v>
                </c:pt>
                <c:pt idx="19">
                  <c:v>44.11</c:v>
                </c:pt>
                <c:pt idx="20">
                  <c:v>41.73</c:v>
                </c:pt>
                <c:pt idx="21">
                  <c:v>42.07</c:v>
                </c:pt>
                <c:pt idx="22">
                  <c:v>42.29</c:v>
                </c:pt>
                <c:pt idx="23">
                  <c:v>45.17</c:v>
                </c:pt>
                <c:pt idx="24">
                  <c:v>52.3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9019583640148</c:v>
                </c:pt>
                <c:pt idx="2">
                  <c:v>0.91245993675007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4.0</c:v>
                </c:pt>
                <c:pt idx="2">
                  <c:v>9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29967949400062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9.0</c:v>
                </c:pt>
                <c:pt idx="2">
                  <c:v>15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enrio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81.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6.0</c:v>
                </c:pt>
                <c:pt idx="2">
                  <c:v>6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6.0</c:v>
                </c:pt>
                <c:pt idx="2">
                  <c:v>3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6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938316473700613</c:v>
                </c:pt>
                <c:pt idx="2">
                  <c:v>0.9361489740110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lamo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2.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enrio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8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3.0</c:v>
                </c:pt>
                <c:pt idx="2">
                  <c:v>9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0.748919179208874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9.0</c:v>
                </c:pt>
                <c:pt idx="2">
                  <c:v>5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47.0</c:v>
                </c:pt>
                <c:pt idx="2">
                  <c:v>15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1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65455040695095</c:v>
                </c:pt>
                <c:pt idx="2">
                  <c:v>0.98483705736646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enrio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1.0</c:v>
                </c:pt>
                <c:pt idx="2">
                  <c:v>9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87869645893173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0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5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8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022</c:v>
                </c:pt>
                <c:pt idx="1">
                  <c:v>16114</c:v>
                </c:pt>
                <c:pt idx="2">
                  <c:v>14283</c:v>
                </c:pt>
                <c:pt idx="3">
                  <c:v>12794</c:v>
                </c:pt>
                <c:pt idx="4">
                  <c:v>15869</c:v>
                </c:pt>
                <c:pt idx="5">
                  <c:v>14565</c:v>
                </c:pt>
                <c:pt idx="6">
                  <c:v>65965</c:v>
                </c:pt>
                <c:pt idx="7">
                  <c:v>21677</c:v>
                </c:pt>
                <c:pt idx="8">
                  <c:v>10154</c:v>
                </c:pt>
                <c:pt idx="9">
                  <c:v>9745</c:v>
                </c:pt>
                <c:pt idx="10">
                  <c:v>10601</c:v>
                </c:pt>
                <c:pt idx="11">
                  <c:v>9611</c:v>
                </c:pt>
                <c:pt idx="12">
                  <c:v>10999</c:v>
                </c:pt>
                <c:pt idx="13">
                  <c:v>13558</c:v>
                </c:pt>
                <c:pt idx="14">
                  <c:v>13244</c:v>
                </c:pt>
                <c:pt idx="15">
                  <c:v>9234</c:v>
                </c:pt>
                <c:pt idx="16">
                  <c:v>13393</c:v>
                </c:pt>
                <c:pt idx="17">
                  <c:v>14249</c:v>
                </c:pt>
                <c:pt idx="18">
                  <c:v>52095</c:v>
                </c:pt>
                <c:pt idx="19">
                  <c:v>8336</c:v>
                </c:pt>
                <c:pt idx="20">
                  <c:v>10243</c:v>
                </c:pt>
                <c:pt idx="21">
                  <c:v>11655</c:v>
                </c:pt>
                <c:pt idx="22">
                  <c:v>9292</c:v>
                </c:pt>
                <c:pt idx="23">
                  <c:v>13613</c:v>
                </c:pt>
                <c:pt idx="24">
                  <c:v>1288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00.8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94.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92.0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00.82</c:v>
                </c:pt>
                <c:pt idx="1">
                  <c:v>93.14</c:v>
                </c:pt>
                <c:pt idx="2">
                  <c:v>100.58</c:v>
                </c:pt>
                <c:pt idx="3">
                  <c:v>107.51</c:v>
                </c:pt>
                <c:pt idx="4">
                  <c:v>97.36</c:v>
                </c:pt>
                <c:pt idx="5">
                  <c:v>90.47</c:v>
                </c:pt>
                <c:pt idx="6">
                  <c:v>102.27</c:v>
                </c:pt>
                <c:pt idx="7">
                  <c:v>95.49</c:v>
                </c:pt>
                <c:pt idx="8">
                  <c:v>101.54</c:v>
                </c:pt>
                <c:pt idx="9">
                  <c:v>97.45</c:v>
                </c:pt>
                <c:pt idx="10">
                  <c:v>82.18</c:v>
                </c:pt>
                <c:pt idx="11">
                  <c:v>76.89</c:v>
                </c:pt>
                <c:pt idx="12">
                  <c:v>90.16</c:v>
                </c:pt>
                <c:pt idx="13">
                  <c:v>94.81</c:v>
                </c:pt>
                <c:pt idx="14">
                  <c:v>92.62</c:v>
                </c:pt>
                <c:pt idx="15">
                  <c:v>94.22</c:v>
                </c:pt>
                <c:pt idx="16">
                  <c:v>96.35</c:v>
                </c:pt>
                <c:pt idx="17">
                  <c:v>94.99</c:v>
                </c:pt>
                <c:pt idx="18">
                  <c:v>92.86</c:v>
                </c:pt>
                <c:pt idx="19">
                  <c:v>93.66</c:v>
                </c:pt>
                <c:pt idx="20">
                  <c:v>102.43</c:v>
                </c:pt>
                <c:pt idx="21">
                  <c:v>103.14</c:v>
                </c:pt>
                <c:pt idx="22">
                  <c:v>98.85</c:v>
                </c:pt>
                <c:pt idx="23">
                  <c:v>84.55</c:v>
                </c:pt>
                <c:pt idx="24">
                  <c:v>92.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arles Lafi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8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9.0</c:v>
                </c:pt>
                <c:pt idx="2">
                  <c:v>120.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Alfred De Rothschil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3547348240875</c:v>
                </c:pt>
                <c:pt idx="2">
                  <c:v>0.9888572316225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arles Lafitt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umm</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Alfred De Rothschil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6.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791085785298062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3.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0.0</c:v>
                </c:pt>
                <c:pt idx="2">
                  <c:v>14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60.0</c:v>
                </c:pt>
                <c:pt idx="2">
                  <c:v>5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35574959371348</c:v>
                </c:pt>
                <c:pt idx="2">
                  <c:v>1.02664373885909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8.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8.0</c:v>
                </c:pt>
                <c:pt idx="2">
                  <c:v>12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4.0</c:v>
                </c:pt>
                <c:pt idx="2">
                  <c:v>15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6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55.0</c:v>
                </c:pt>
                <c:pt idx="2">
                  <c:v>5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05095680388603</c:v>
                </c:pt>
                <c:pt idx="2">
                  <c:v>1.039209510165744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8.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4.0</c:v>
                </c:pt>
                <c:pt idx="2">
                  <c:v>12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1.0</c:v>
                </c:pt>
                <c:pt idx="2">
                  <c:v>14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7.0</c:v>
                </c:pt>
                <c:pt idx="2">
                  <c:v>6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De Blign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8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0467108132757</c:v>
                </c:pt>
                <c:pt idx="2">
                  <c:v>1.0151671358896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eidsieck &amp; Co Monopo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De Blign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7.0</c:v>
                </c:pt>
                <c:pt idx="2">
                  <c:v>7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4.0</c:v>
                </c:pt>
                <c:pt idx="2">
                  <c:v>11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2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9.0</c:v>
                </c:pt>
                <c:pt idx="2">
                  <c:v>16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58.0</c:v>
                </c:pt>
                <c:pt idx="2">
                  <c:v>6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0947895470862</c:v>
                </c:pt>
                <c:pt idx="2">
                  <c:v>1.04936098218980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Taitting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1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30.0</c:v>
                </c:pt>
                <c:pt idx="2">
                  <c:v>10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3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62.0</c:v>
                </c:pt>
                <c:pt idx="2">
                  <c:v>5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8288540352328</c:v>
                </c:pt>
                <c:pt idx="2">
                  <c:v>1.04143729143680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Taitting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10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6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697</c:v>
                </c:pt>
                <c:pt idx="1">
                  <c:v>10841</c:v>
                </c:pt>
                <c:pt idx="2">
                  <c:v>9789</c:v>
                </c:pt>
                <c:pt idx="3">
                  <c:v>9071</c:v>
                </c:pt>
                <c:pt idx="4">
                  <c:v>16320</c:v>
                </c:pt>
                <c:pt idx="5">
                  <c:v>17940</c:v>
                </c:pt>
                <c:pt idx="6">
                  <c:v>38727</c:v>
                </c:pt>
                <c:pt idx="7">
                  <c:v>14299</c:v>
                </c:pt>
                <c:pt idx="8">
                  <c:v>7260</c:v>
                </c:pt>
                <c:pt idx="9">
                  <c:v>9278</c:v>
                </c:pt>
                <c:pt idx="10">
                  <c:v>4462</c:v>
                </c:pt>
                <c:pt idx="11">
                  <c:v>6709</c:v>
                </c:pt>
                <c:pt idx="12">
                  <c:v>6794</c:v>
                </c:pt>
                <c:pt idx="13">
                  <c:v>5470</c:v>
                </c:pt>
                <c:pt idx="14">
                  <c:v>8279</c:v>
                </c:pt>
                <c:pt idx="15">
                  <c:v>5347</c:v>
                </c:pt>
                <c:pt idx="16">
                  <c:v>3663</c:v>
                </c:pt>
                <c:pt idx="17">
                  <c:v>6168</c:v>
                </c:pt>
                <c:pt idx="18">
                  <c:v>17032</c:v>
                </c:pt>
                <c:pt idx="19">
                  <c:v>3541</c:v>
                </c:pt>
                <c:pt idx="20">
                  <c:v>2714</c:v>
                </c:pt>
                <c:pt idx="21">
                  <c:v>3179</c:v>
                </c:pt>
                <c:pt idx="22">
                  <c:v>4459</c:v>
                </c:pt>
                <c:pt idx="23">
                  <c:v>8339</c:v>
                </c:pt>
                <c:pt idx="24">
                  <c:v>57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06.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8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1.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06.06</c:v>
                </c:pt>
                <c:pt idx="1">
                  <c:v>95.94</c:v>
                </c:pt>
                <c:pt idx="2">
                  <c:v>94.12</c:v>
                </c:pt>
                <c:pt idx="3">
                  <c:v>101.92</c:v>
                </c:pt>
                <c:pt idx="4">
                  <c:v>111.78</c:v>
                </c:pt>
                <c:pt idx="5">
                  <c:v>99.67</c:v>
                </c:pt>
                <c:pt idx="6">
                  <c:v>100.33</c:v>
                </c:pt>
                <c:pt idx="7">
                  <c:v>95.97</c:v>
                </c:pt>
                <c:pt idx="8">
                  <c:v>100.83</c:v>
                </c:pt>
                <c:pt idx="9">
                  <c:v>109.15</c:v>
                </c:pt>
                <c:pt idx="10">
                  <c:v>74.37</c:v>
                </c:pt>
                <c:pt idx="11">
                  <c:v>95.84</c:v>
                </c:pt>
                <c:pt idx="12">
                  <c:v>102.94</c:v>
                </c:pt>
                <c:pt idx="13">
                  <c:v>88.23</c:v>
                </c:pt>
                <c:pt idx="14">
                  <c:v>83.63</c:v>
                </c:pt>
                <c:pt idx="15">
                  <c:v>92.19</c:v>
                </c:pt>
                <c:pt idx="16">
                  <c:v>87.21</c:v>
                </c:pt>
                <c:pt idx="17">
                  <c:v>88.11</c:v>
                </c:pt>
                <c:pt idx="18">
                  <c:v>82.68</c:v>
                </c:pt>
                <c:pt idx="19">
                  <c:v>70.82</c:v>
                </c:pt>
                <c:pt idx="20">
                  <c:v>90.47</c:v>
                </c:pt>
                <c:pt idx="21">
                  <c:v>83.66</c:v>
                </c:pt>
                <c:pt idx="22">
                  <c:v>85.75</c:v>
                </c:pt>
                <c:pt idx="23">
                  <c:v>86.86</c:v>
                </c:pt>
                <c:pt idx="24">
                  <c:v>101.7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9.0</c:v>
                </c:pt>
                <c:pt idx="2">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13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De Blign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0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46230565917336</c:v>
                </c:pt>
                <c:pt idx="2">
                  <c:v>1.04032165942545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De Blign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yala</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7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Taitting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1.0</c:v>
                </c:pt>
                <c:pt idx="2">
                  <c:v>9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50.0</c:v>
                </c:pt>
                <c:pt idx="2">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7.0</c:v>
                </c:pt>
                <c:pt idx="2">
                  <c:v>18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nard Duchên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18103180827551</c:v>
                </c:pt>
                <c:pt idx="2">
                  <c:v>1.001988619393278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Taitting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9.0</c:v>
                </c:pt>
                <c:pt idx="2">
                  <c:v>9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nard Duchên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8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2.0</c:v>
                </c:pt>
                <c:pt idx="2">
                  <c:v>10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11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9.0</c:v>
                </c:pt>
                <c:pt idx="2">
                  <c:v>14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62.0</c:v>
                </c:pt>
                <c:pt idx="2">
                  <c:v>6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07987218004877</c:v>
                </c:pt>
                <c:pt idx="2">
                  <c:v>1.01876399941900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urent Perri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eidsieck &amp; Co Monopo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2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10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96.0</c:v>
                </c:pt>
                <c:pt idx="2">
                  <c:v>18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3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40540131431286</c:v>
                </c:pt>
                <c:pt idx="2">
                  <c:v>1.04562513375403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8.0</c:v>
                </c:pt>
                <c:pt idx="2">
                  <c:v>9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9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2.0</c:v>
                </c:pt>
                <c:pt idx="2">
                  <c:v>1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9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1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48037733801518</c:v>
                </c:pt>
                <c:pt idx="2">
                  <c:v>1.03691473721471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4.0</c:v>
                </c:pt>
                <c:pt idx="2">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1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19141562592253</c:v>
                </c:pt>
                <c:pt idx="2">
                  <c:v>1.0358828890115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8.0</c:v>
                </c:pt>
                <c:pt idx="2">
                  <c:v>9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3.0</c:v>
                </c:pt>
                <c:pt idx="2">
                  <c:v>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4.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43715906329338</c:v>
                </c:pt>
                <c:pt idx="2">
                  <c:v>1.03658977978397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6.0</c:v>
                </c:pt>
                <c:pt idx="2">
                  <c:v>9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41.0</c:v>
                </c:pt>
                <c:pt idx="2">
                  <c:v>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0.0</c:v>
                </c:pt>
                <c:pt idx="2">
                  <c:v>15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5.0</c:v>
                </c:pt>
                <c:pt idx="2">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43492340645843</c:v>
                </c:pt>
                <c:pt idx="2">
                  <c:v>1.019650887754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8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1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8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9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9136</c:v>
                </c:pt>
                <c:pt idx="1">
                  <c:v>21990</c:v>
                </c:pt>
                <c:pt idx="2">
                  <c:v>32103</c:v>
                </c:pt>
                <c:pt idx="3">
                  <c:v>19139</c:v>
                </c:pt>
                <c:pt idx="4">
                  <c:v>17398</c:v>
                </c:pt>
                <c:pt idx="5">
                  <c:v>17752</c:v>
                </c:pt>
                <c:pt idx="6">
                  <c:v>46516</c:v>
                </c:pt>
                <c:pt idx="7">
                  <c:v>20229</c:v>
                </c:pt>
                <c:pt idx="8">
                  <c:v>14333</c:v>
                </c:pt>
                <c:pt idx="9">
                  <c:v>16259</c:v>
                </c:pt>
                <c:pt idx="10">
                  <c:v>18710</c:v>
                </c:pt>
                <c:pt idx="11">
                  <c:v>24324</c:v>
                </c:pt>
                <c:pt idx="12">
                  <c:v>24169</c:v>
                </c:pt>
                <c:pt idx="13">
                  <c:v>27883</c:v>
                </c:pt>
                <c:pt idx="14">
                  <c:v>34235</c:v>
                </c:pt>
                <c:pt idx="15">
                  <c:v>20239</c:v>
                </c:pt>
                <c:pt idx="16">
                  <c:v>22558</c:v>
                </c:pt>
                <c:pt idx="17">
                  <c:v>24185</c:v>
                </c:pt>
                <c:pt idx="18">
                  <c:v>35813</c:v>
                </c:pt>
                <c:pt idx="19">
                  <c:v>12730</c:v>
                </c:pt>
                <c:pt idx="20">
                  <c:v>12430</c:v>
                </c:pt>
                <c:pt idx="21">
                  <c:v>14981</c:v>
                </c:pt>
                <c:pt idx="22">
                  <c:v>20742</c:v>
                </c:pt>
                <c:pt idx="23">
                  <c:v>25238</c:v>
                </c:pt>
                <c:pt idx="24">
                  <c:v>1896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0.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5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1.2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0.81</c:v>
                </c:pt>
                <c:pt idx="1">
                  <c:v>30.76</c:v>
                </c:pt>
                <c:pt idx="2">
                  <c:v>30.49</c:v>
                </c:pt>
                <c:pt idx="3">
                  <c:v>30.09</c:v>
                </c:pt>
                <c:pt idx="4">
                  <c:v>30.58</c:v>
                </c:pt>
                <c:pt idx="5">
                  <c:v>30.09</c:v>
                </c:pt>
                <c:pt idx="6">
                  <c:v>31.39</c:v>
                </c:pt>
                <c:pt idx="7">
                  <c:v>32.63</c:v>
                </c:pt>
                <c:pt idx="8">
                  <c:v>32.14</c:v>
                </c:pt>
                <c:pt idx="9">
                  <c:v>31.39</c:v>
                </c:pt>
                <c:pt idx="10">
                  <c:v>33.23</c:v>
                </c:pt>
                <c:pt idx="11">
                  <c:v>33.83</c:v>
                </c:pt>
                <c:pt idx="12">
                  <c:v>30.14</c:v>
                </c:pt>
                <c:pt idx="13">
                  <c:v>29.57</c:v>
                </c:pt>
                <c:pt idx="14">
                  <c:v>29.95</c:v>
                </c:pt>
                <c:pt idx="15">
                  <c:v>31.33</c:v>
                </c:pt>
                <c:pt idx="16">
                  <c:v>29.14</c:v>
                </c:pt>
                <c:pt idx="17">
                  <c:v>31.86</c:v>
                </c:pt>
                <c:pt idx="18">
                  <c:v>31.92</c:v>
                </c:pt>
                <c:pt idx="19">
                  <c:v>31.9</c:v>
                </c:pt>
                <c:pt idx="20">
                  <c:v>32.04</c:v>
                </c:pt>
                <c:pt idx="21">
                  <c:v>31.61</c:v>
                </c:pt>
                <c:pt idx="22">
                  <c:v>31.1</c:v>
                </c:pt>
                <c:pt idx="23">
                  <c:v>30.01</c:v>
                </c:pt>
                <c:pt idx="24">
                  <c:v>31.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2.0</c:v>
                </c:pt>
                <c:pt idx="2">
                  <c:v>1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2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3.0</c:v>
                </c:pt>
                <c:pt idx="2">
                  <c:v>10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55348243850746</c:v>
                </c:pt>
                <c:pt idx="2">
                  <c:v>1.02809127249347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3.0</c:v>
                </c:pt>
                <c:pt idx="2">
                  <c:v>8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2.0</c:v>
                </c:pt>
                <c:pt idx="2">
                  <c:v>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8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2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6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64762919218658</c:v>
                </c:pt>
                <c:pt idx="2">
                  <c:v>1.027047207297524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8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3.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3.0</c:v>
                </c:pt>
                <c:pt idx="2">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1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4.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0787398315083</c:v>
                </c:pt>
                <c:pt idx="2">
                  <c:v>1.034104551758398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0,9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4,3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2,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0931</c:v>
                </c:pt>
                <c:pt idx="1">
                  <c:v>162685</c:v>
                </c:pt>
                <c:pt idx="2">
                  <c:v>100299</c:v>
                </c:pt>
                <c:pt idx="3">
                  <c:v>109721</c:v>
                </c:pt>
                <c:pt idx="4">
                  <c:v>110528</c:v>
                </c:pt>
                <c:pt idx="5">
                  <c:v>139234</c:v>
                </c:pt>
                <c:pt idx="6">
                  <c:v>477116</c:v>
                </c:pt>
                <c:pt idx="7">
                  <c:v>178413</c:v>
                </c:pt>
                <c:pt idx="8">
                  <c:v>73038</c:v>
                </c:pt>
                <c:pt idx="9">
                  <c:v>76919</c:v>
                </c:pt>
                <c:pt idx="10">
                  <c:v>87373</c:v>
                </c:pt>
                <c:pt idx="11">
                  <c:v>111730</c:v>
                </c:pt>
                <c:pt idx="12">
                  <c:v>102868</c:v>
                </c:pt>
                <c:pt idx="13">
                  <c:v>94345</c:v>
                </c:pt>
                <c:pt idx="14">
                  <c:v>60909</c:v>
                </c:pt>
                <c:pt idx="15">
                  <c:v>84556</c:v>
                </c:pt>
                <c:pt idx="16">
                  <c:v>81834</c:v>
                </c:pt>
                <c:pt idx="17">
                  <c:v>102329</c:v>
                </c:pt>
                <c:pt idx="18">
                  <c:v>329813</c:v>
                </c:pt>
                <c:pt idx="19">
                  <c:v>84763</c:v>
                </c:pt>
                <c:pt idx="20">
                  <c:v>68024</c:v>
                </c:pt>
                <c:pt idx="21">
                  <c:v>72719</c:v>
                </c:pt>
                <c:pt idx="22">
                  <c:v>81475</c:v>
                </c:pt>
                <c:pt idx="23">
                  <c:v>97999</c:v>
                </c:pt>
                <c:pt idx="24">
                  <c:v>92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99.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93.0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92.0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99.95</c:v>
                </c:pt>
                <c:pt idx="1">
                  <c:v>100.18</c:v>
                </c:pt>
                <c:pt idx="2">
                  <c:v>96.16</c:v>
                </c:pt>
                <c:pt idx="3">
                  <c:v>97.62</c:v>
                </c:pt>
                <c:pt idx="4">
                  <c:v>95.36</c:v>
                </c:pt>
                <c:pt idx="5">
                  <c:v>85.95</c:v>
                </c:pt>
                <c:pt idx="6">
                  <c:v>98.48</c:v>
                </c:pt>
                <c:pt idx="7">
                  <c:v>89.12</c:v>
                </c:pt>
                <c:pt idx="8">
                  <c:v>95.47</c:v>
                </c:pt>
                <c:pt idx="9">
                  <c:v>92.9</c:v>
                </c:pt>
                <c:pt idx="10">
                  <c:v>82.19</c:v>
                </c:pt>
                <c:pt idx="11">
                  <c:v>87.98</c:v>
                </c:pt>
                <c:pt idx="12">
                  <c:v>96.77</c:v>
                </c:pt>
                <c:pt idx="13">
                  <c:v>93.04</c:v>
                </c:pt>
                <c:pt idx="14">
                  <c:v>87.14</c:v>
                </c:pt>
                <c:pt idx="15">
                  <c:v>92.41</c:v>
                </c:pt>
                <c:pt idx="16">
                  <c:v>95.38</c:v>
                </c:pt>
                <c:pt idx="17">
                  <c:v>94.23</c:v>
                </c:pt>
                <c:pt idx="18">
                  <c:v>93.25</c:v>
                </c:pt>
                <c:pt idx="19">
                  <c:v>84.85</c:v>
                </c:pt>
                <c:pt idx="20">
                  <c:v>92.93</c:v>
                </c:pt>
                <c:pt idx="21">
                  <c:v>96.19</c:v>
                </c:pt>
                <c:pt idx="22">
                  <c:v>94.85</c:v>
                </c:pt>
                <c:pt idx="23">
                  <c:v>83.69</c:v>
                </c:pt>
                <c:pt idx="24">
                  <c:v>92.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1.0</c:v>
                </c:pt>
                <c:pt idx="2">
                  <c:v>2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3.0</c:v>
                </c:pt>
                <c:pt idx="2">
                  <c:v>11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198220123127</c:v>
                </c:pt>
                <c:pt idx="2">
                  <c:v>1.03676538830396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0,032,7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8,726,0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38,556,390</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40032742</c:v>
                </c:pt>
                <c:pt idx="1">
                  <c:v>39996346</c:v>
                </c:pt>
                <c:pt idx="2">
                  <c:v>41248511</c:v>
                </c:pt>
                <c:pt idx="3">
                  <c:v>41265118</c:v>
                </c:pt>
                <c:pt idx="4">
                  <c:v>50081198</c:v>
                </c:pt>
                <c:pt idx="5">
                  <c:v>43013298</c:v>
                </c:pt>
                <c:pt idx="6">
                  <c:v>37925728</c:v>
                </c:pt>
                <c:pt idx="7">
                  <c:v>40956372</c:v>
                </c:pt>
                <c:pt idx="8">
                  <c:v>39065349</c:v>
                </c:pt>
                <c:pt idx="9">
                  <c:v>41275461</c:v>
                </c:pt>
                <c:pt idx="10">
                  <c:v>40062133</c:v>
                </c:pt>
                <c:pt idx="11">
                  <c:v>40237475</c:v>
                </c:pt>
                <c:pt idx="12">
                  <c:v>38736897</c:v>
                </c:pt>
                <c:pt idx="13">
                  <c:v>38726008</c:v>
                </c:pt>
                <c:pt idx="14">
                  <c:v>40417760</c:v>
                </c:pt>
                <c:pt idx="15">
                  <c:v>39481708</c:v>
                </c:pt>
                <c:pt idx="16">
                  <c:v>47212558</c:v>
                </c:pt>
                <c:pt idx="17">
                  <c:v>39493613</c:v>
                </c:pt>
                <c:pt idx="18">
                  <c:v>35484461</c:v>
                </c:pt>
                <c:pt idx="19">
                  <c:v>39443647</c:v>
                </c:pt>
                <c:pt idx="20">
                  <c:v>37991417</c:v>
                </c:pt>
                <c:pt idx="21">
                  <c:v>39692567</c:v>
                </c:pt>
                <c:pt idx="22">
                  <c:v>3855639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5.4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6.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26.24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25.47</c:v>
                </c:pt>
                <c:pt idx="1">
                  <c:v>25.84</c:v>
                </c:pt>
                <c:pt idx="2">
                  <c:v>25.85</c:v>
                </c:pt>
                <c:pt idx="3">
                  <c:v>26.22</c:v>
                </c:pt>
                <c:pt idx="4">
                  <c:v>28.35</c:v>
                </c:pt>
                <c:pt idx="5">
                  <c:v>26.44</c:v>
                </c:pt>
                <c:pt idx="6">
                  <c:v>25.66</c:v>
                </c:pt>
                <c:pt idx="7">
                  <c:v>25.75</c:v>
                </c:pt>
                <c:pt idx="8">
                  <c:v>25.61</c:v>
                </c:pt>
                <c:pt idx="9">
                  <c:v>25.88</c:v>
                </c:pt>
                <c:pt idx="10">
                  <c:v>25.92</c:v>
                </c:pt>
                <c:pt idx="11">
                  <c:v>25.98</c:v>
                </c:pt>
                <c:pt idx="12">
                  <c:v>25.85</c:v>
                </c:pt>
                <c:pt idx="13">
                  <c:v>26.25</c:v>
                </c:pt>
                <c:pt idx="14">
                  <c:v>26.4</c:v>
                </c:pt>
                <c:pt idx="15">
                  <c:v>26.51</c:v>
                </c:pt>
                <c:pt idx="16">
                  <c:v>28.5</c:v>
                </c:pt>
                <c:pt idx="17">
                  <c:v>26.16</c:v>
                </c:pt>
                <c:pt idx="18">
                  <c:v>26.01</c:v>
                </c:pt>
                <c:pt idx="19">
                  <c:v>26.04</c:v>
                </c:pt>
                <c:pt idx="20">
                  <c:v>26.01</c:v>
                </c:pt>
                <c:pt idx="21">
                  <c:v>26.13</c:v>
                </c:pt>
                <c:pt idx="22">
                  <c:v>26.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6.0</c:v>
                </c:pt>
                <c:pt idx="2">
                  <c:v>3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0</c:v>
                </c:pt>
                <c:pt idx="2">
                  <c:v>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8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8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64339246726946</c:v>
                </c:pt>
                <c:pt idx="2">
                  <c:v>1.14140388871999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9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2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2.0</c:v>
                </c:pt>
                <c:pt idx="2">
                  <c:v>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4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8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52288916916848</c:v>
                </c:pt>
                <c:pt idx="2">
                  <c:v>1.14277339735211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7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3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1.0</c:v>
                </c:pt>
                <c:pt idx="2">
                  <c:v>1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7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3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31709320695104</c:v>
                </c:pt>
                <c:pt idx="2">
                  <c:v>1.18223064770932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8.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13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7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34304321486267</c:v>
                </c:pt>
                <c:pt idx="2">
                  <c:v>1.180891558966074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8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1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5.0</c:v>
                </c:pt>
                <c:pt idx="2">
                  <c:v>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8.0</c:v>
                </c:pt>
                <c:pt idx="2">
                  <c:v>5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8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56740023049636</c:v>
                </c:pt>
                <c:pt idx="2">
                  <c:v>1.12780574444838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8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9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4.0</c:v>
                </c:pt>
                <c:pt idx="2">
                  <c:v>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7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nard Duchên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53.0</c:v>
                </c:pt>
                <c:pt idx="2">
                  <c:v>18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64885308560852</c:v>
                </c:pt>
                <c:pt idx="2">
                  <c:v>1.1396511855377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8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nard Duchên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3.0</c:v>
                </c:pt>
                <c:pt idx="2">
                  <c:v>9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2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3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73209392267962</c:v>
                </c:pt>
                <c:pt idx="2">
                  <c:v>1.11215063298114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12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anard Duchê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icolas Feuillatt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5.0</c:v>
                </c:pt>
                <c:pt idx="2">
                  <c:v>4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Nicolas Feuilla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835542537693745</c:v>
                </c:pt>
                <c:pt idx="2">
                  <c:v>1.13826873877166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iper Heidsieck</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8.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Nicolas Feuilla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1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0</c:v>
                </c:pt>
                <c:pt idx="2">
                  <c:v>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7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7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94035617445199</c:v>
                </c:pt>
                <c:pt idx="2">
                  <c:v>1.14032687398814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7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4.0</c:v>
                </c:pt>
                <c:pt idx="2">
                  <c:v>9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1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6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8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43282951062258</c:v>
                </c:pt>
                <c:pt idx="2">
                  <c:v>1.138475747555126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Venog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8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iper Heidsieck</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nard Duchê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icolas Feuillat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8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8.0</c:v>
                </c:pt>
                <c:pt idx="2">
                  <c:v>6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1,2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4,0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5,5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91259</c:v>
                </c:pt>
                <c:pt idx="1">
                  <c:v>249524</c:v>
                </c:pt>
                <c:pt idx="2">
                  <c:v>137823</c:v>
                </c:pt>
                <c:pt idx="3">
                  <c:v>274550</c:v>
                </c:pt>
                <c:pt idx="4">
                  <c:v>300601</c:v>
                </c:pt>
                <c:pt idx="5">
                  <c:v>374083</c:v>
                </c:pt>
                <c:pt idx="6">
                  <c:v>842190</c:v>
                </c:pt>
                <c:pt idx="7">
                  <c:v>394225</c:v>
                </c:pt>
                <c:pt idx="8">
                  <c:v>205951</c:v>
                </c:pt>
                <c:pt idx="9">
                  <c:v>246724</c:v>
                </c:pt>
                <c:pt idx="10">
                  <c:v>202103</c:v>
                </c:pt>
                <c:pt idx="11">
                  <c:v>245799</c:v>
                </c:pt>
                <c:pt idx="12">
                  <c:v>276857</c:v>
                </c:pt>
                <c:pt idx="13">
                  <c:v>224032</c:v>
                </c:pt>
                <c:pt idx="14">
                  <c:v>100940</c:v>
                </c:pt>
                <c:pt idx="15">
                  <c:v>246959</c:v>
                </c:pt>
                <c:pt idx="16">
                  <c:v>284332</c:v>
                </c:pt>
                <c:pt idx="17">
                  <c:v>321005</c:v>
                </c:pt>
                <c:pt idx="18">
                  <c:v>751523</c:v>
                </c:pt>
                <c:pt idx="19">
                  <c:v>258408</c:v>
                </c:pt>
                <c:pt idx="20">
                  <c:v>193290</c:v>
                </c:pt>
                <c:pt idx="21">
                  <c:v>226982</c:v>
                </c:pt>
                <c:pt idx="22">
                  <c:v>196743</c:v>
                </c:pt>
                <c:pt idx="23">
                  <c:v>223220</c:v>
                </c:pt>
                <c:pt idx="24">
                  <c:v>22552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4.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5.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6.1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4.78</c:v>
                </c:pt>
                <c:pt idx="1">
                  <c:v>53.9</c:v>
                </c:pt>
                <c:pt idx="2">
                  <c:v>56.03</c:v>
                </c:pt>
                <c:pt idx="3">
                  <c:v>53.37</c:v>
                </c:pt>
                <c:pt idx="4">
                  <c:v>54.28</c:v>
                </c:pt>
                <c:pt idx="5">
                  <c:v>53.56</c:v>
                </c:pt>
                <c:pt idx="6">
                  <c:v>54.39</c:v>
                </c:pt>
                <c:pt idx="7">
                  <c:v>55.74</c:v>
                </c:pt>
                <c:pt idx="8">
                  <c:v>56.12</c:v>
                </c:pt>
                <c:pt idx="9">
                  <c:v>53.54</c:v>
                </c:pt>
                <c:pt idx="10">
                  <c:v>57.89</c:v>
                </c:pt>
                <c:pt idx="11">
                  <c:v>56.62</c:v>
                </c:pt>
                <c:pt idx="12">
                  <c:v>56.5</c:v>
                </c:pt>
                <c:pt idx="13">
                  <c:v>55.77</c:v>
                </c:pt>
                <c:pt idx="14">
                  <c:v>57.52</c:v>
                </c:pt>
                <c:pt idx="15">
                  <c:v>56.19</c:v>
                </c:pt>
                <c:pt idx="16">
                  <c:v>55.62</c:v>
                </c:pt>
                <c:pt idx="17">
                  <c:v>55.0</c:v>
                </c:pt>
                <c:pt idx="18">
                  <c:v>56.75</c:v>
                </c:pt>
                <c:pt idx="19">
                  <c:v>59.65</c:v>
                </c:pt>
                <c:pt idx="20">
                  <c:v>55.82</c:v>
                </c:pt>
                <c:pt idx="21">
                  <c:v>53.46</c:v>
                </c:pt>
                <c:pt idx="22">
                  <c:v>55.47</c:v>
                </c:pt>
                <c:pt idx="23">
                  <c:v>53.48</c:v>
                </c:pt>
                <c:pt idx="24">
                  <c:v>56.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93707510439574</c:v>
                </c:pt>
                <c:pt idx="2">
                  <c:v>0.95010124367069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0.0</c:v>
                </c:pt>
                <c:pt idx="2">
                  <c:v>15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4.79999999999998"/>
          <c:min val="0.760080994936555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1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5.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73.0</c:v>
                </c:pt>
                <c:pt idx="2">
                  <c:v>10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28780750100819</c:v>
                </c:pt>
                <c:pt idx="2">
                  <c:v>1.026569587685266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1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4.0</c:v>
                </c:pt>
                <c:pt idx="2">
                  <c:v>1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8.0</c:v>
                </c:pt>
                <c:pt idx="2">
                  <c:v>8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4.0</c:v>
                </c:pt>
                <c:pt idx="2">
                  <c:v>6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2.0</c:v>
                </c:pt>
                <c:pt idx="2">
                  <c:v>6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43788268868819</c:v>
                </c:pt>
                <c:pt idx="2">
                  <c:v>0.993505497229045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9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2.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1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794804397783236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7,4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1,7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5,0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47422</c:v>
                </c:pt>
                <c:pt idx="1">
                  <c:v>143716</c:v>
                </c:pt>
                <c:pt idx="2">
                  <c:v>120264</c:v>
                </c:pt>
                <c:pt idx="3">
                  <c:v>145722</c:v>
                </c:pt>
                <c:pt idx="4">
                  <c:v>133326</c:v>
                </c:pt>
                <c:pt idx="5">
                  <c:v>194621</c:v>
                </c:pt>
                <c:pt idx="6">
                  <c:v>647292</c:v>
                </c:pt>
                <c:pt idx="7">
                  <c:v>224630</c:v>
                </c:pt>
                <c:pt idx="8">
                  <c:v>94652</c:v>
                </c:pt>
                <c:pt idx="9">
                  <c:v>114711</c:v>
                </c:pt>
                <c:pt idx="10">
                  <c:v>87809</c:v>
                </c:pt>
                <c:pt idx="11">
                  <c:v>152874</c:v>
                </c:pt>
                <c:pt idx="12">
                  <c:v>139202</c:v>
                </c:pt>
                <c:pt idx="13">
                  <c:v>151706</c:v>
                </c:pt>
                <c:pt idx="14">
                  <c:v>116499</c:v>
                </c:pt>
                <c:pt idx="15">
                  <c:v>122665</c:v>
                </c:pt>
                <c:pt idx="16">
                  <c:v>145783</c:v>
                </c:pt>
                <c:pt idx="17">
                  <c:v>170053</c:v>
                </c:pt>
                <c:pt idx="18">
                  <c:v>621706</c:v>
                </c:pt>
                <c:pt idx="19">
                  <c:v>114976</c:v>
                </c:pt>
                <c:pt idx="20">
                  <c:v>80575</c:v>
                </c:pt>
                <c:pt idx="21">
                  <c:v>97875</c:v>
                </c:pt>
                <c:pt idx="22">
                  <c:v>95662</c:v>
                </c:pt>
                <c:pt idx="23">
                  <c:v>123313</c:v>
                </c:pt>
                <c:pt idx="24">
                  <c:v>1250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3.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5.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6.5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3.05</c:v>
                </c:pt>
                <c:pt idx="1">
                  <c:v>53.37</c:v>
                </c:pt>
                <c:pt idx="2">
                  <c:v>54.08</c:v>
                </c:pt>
                <c:pt idx="3">
                  <c:v>51.49</c:v>
                </c:pt>
                <c:pt idx="4">
                  <c:v>54.04</c:v>
                </c:pt>
                <c:pt idx="5">
                  <c:v>49.94</c:v>
                </c:pt>
                <c:pt idx="6">
                  <c:v>53.32</c:v>
                </c:pt>
                <c:pt idx="7">
                  <c:v>55.22</c:v>
                </c:pt>
                <c:pt idx="8">
                  <c:v>55.58</c:v>
                </c:pt>
                <c:pt idx="9">
                  <c:v>50.82</c:v>
                </c:pt>
                <c:pt idx="10">
                  <c:v>54.54</c:v>
                </c:pt>
                <c:pt idx="11">
                  <c:v>54.31</c:v>
                </c:pt>
                <c:pt idx="12">
                  <c:v>54.12</c:v>
                </c:pt>
                <c:pt idx="13">
                  <c:v>55.35</c:v>
                </c:pt>
                <c:pt idx="14">
                  <c:v>54.87</c:v>
                </c:pt>
                <c:pt idx="15">
                  <c:v>53.06</c:v>
                </c:pt>
                <c:pt idx="16">
                  <c:v>54.58</c:v>
                </c:pt>
                <c:pt idx="17">
                  <c:v>53.11</c:v>
                </c:pt>
                <c:pt idx="18">
                  <c:v>54.67</c:v>
                </c:pt>
                <c:pt idx="19">
                  <c:v>61.75</c:v>
                </c:pt>
                <c:pt idx="20">
                  <c:v>53.61</c:v>
                </c:pt>
                <c:pt idx="21">
                  <c:v>52.14</c:v>
                </c:pt>
                <c:pt idx="22">
                  <c:v>53.77</c:v>
                </c:pt>
                <c:pt idx="23">
                  <c:v>51.23</c:v>
                </c:pt>
                <c:pt idx="24">
                  <c:v>56.5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7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0.0</c:v>
                </c:pt>
                <c:pt idx="2">
                  <c:v>13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29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6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57.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45845105948681</c:v>
                </c:pt>
                <c:pt idx="2">
                  <c:v>0.854411792323618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7.0</c:v>
                </c:pt>
                <c:pt idx="2">
                  <c:v>8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1.0</c:v>
                </c:pt>
                <c:pt idx="2">
                  <c:v>12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2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0.683529433858894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64.0</c:v>
                </c:pt>
                <c:pt idx="2">
                  <c:v>1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3.0</c:v>
                </c:pt>
                <c:pt idx="2">
                  <c:v>15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9.0</c:v>
                </c:pt>
                <c:pt idx="2">
                  <c:v>5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44.0</c:v>
                </c:pt>
                <c:pt idx="2">
                  <c:v>3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3298643991801962</c:v>
                </c:pt>
                <c:pt idx="2">
                  <c:v>1.3804785781575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6.0</c:v>
                </c:pt>
                <c:pt idx="2">
                  <c:v>12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3</c:f>
              <c:numCache>
                <c:formatCode>General</c:formatCode>
                <c:ptCount val="2"/>
                <c:pt idx="0">
                  <c:v>100.0</c:v>
                </c:pt>
                <c:pt idx="1">
                  <c:v>9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6.0</c:v>
                </c:pt>
                <c:pt idx="2">
                  <c:v>11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7.0</c:v>
                </c:pt>
                <c:pt idx="2">
                  <c:v>10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8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37.0</c:v>
                </c:pt>
                <c:pt idx="2">
                  <c:v>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70.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38200733335057</c:v>
                </c:pt>
                <c:pt idx="2">
                  <c:v>1.0277371680411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5.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9.0</c:v>
                </c:pt>
                <c:pt idx="2">
                  <c:v>13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2,6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5,0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5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2610</c:v>
                </c:pt>
                <c:pt idx="1">
                  <c:v>68443</c:v>
                </c:pt>
                <c:pt idx="2">
                  <c:v>48022</c:v>
                </c:pt>
                <c:pt idx="3">
                  <c:v>66535</c:v>
                </c:pt>
                <c:pt idx="4">
                  <c:v>62101</c:v>
                </c:pt>
                <c:pt idx="5">
                  <c:v>86328</c:v>
                </c:pt>
                <c:pt idx="6">
                  <c:v>270730</c:v>
                </c:pt>
                <c:pt idx="7">
                  <c:v>102733</c:v>
                </c:pt>
                <c:pt idx="8">
                  <c:v>52220</c:v>
                </c:pt>
                <c:pt idx="9">
                  <c:v>58414</c:v>
                </c:pt>
                <c:pt idx="10">
                  <c:v>46450</c:v>
                </c:pt>
                <c:pt idx="11">
                  <c:v>67470</c:v>
                </c:pt>
                <c:pt idx="12">
                  <c:v>66948</c:v>
                </c:pt>
                <c:pt idx="13">
                  <c:v>65017</c:v>
                </c:pt>
                <c:pt idx="14">
                  <c:v>49080</c:v>
                </c:pt>
                <c:pt idx="15">
                  <c:v>66693</c:v>
                </c:pt>
                <c:pt idx="16">
                  <c:v>75162</c:v>
                </c:pt>
                <c:pt idx="17">
                  <c:v>87287</c:v>
                </c:pt>
                <c:pt idx="18">
                  <c:v>244443</c:v>
                </c:pt>
                <c:pt idx="19">
                  <c:v>52276</c:v>
                </c:pt>
                <c:pt idx="20">
                  <c:v>43161</c:v>
                </c:pt>
                <c:pt idx="21">
                  <c:v>57174</c:v>
                </c:pt>
                <c:pt idx="22">
                  <c:v>52735</c:v>
                </c:pt>
                <c:pt idx="23">
                  <c:v>60293</c:v>
                </c:pt>
                <c:pt idx="24">
                  <c:v>605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9.9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0.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2.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9.97</c:v>
                </c:pt>
                <c:pt idx="1">
                  <c:v>50.92</c:v>
                </c:pt>
                <c:pt idx="2">
                  <c:v>49.3</c:v>
                </c:pt>
                <c:pt idx="3">
                  <c:v>49.76</c:v>
                </c:pt>
                <c:pt idx="4">
                  <c:v>51.58</c:v>
                </c:pt>
                <c:pt idx="5">
                  <c:v>46.99</c:v>
                </c:pt>
                <c:pt idx="6">
                  <c:v>51.5</c:v>
                </c:pt>
                <c:pt idx="7">
                  <c:v>53.65</c:v>
                </c:pt>
                <c:pt idx="8">
                  <c:v>53.89</c:v>
                </c:pt>
                <c:pt idx="9">
                  <c:v>50.66</c:v>
                </c:pt>
                <c:pt idx="10">
                  <c:v>51.21</c:v>
                </c:pt>
                <c:pt idx="11">
                  <c:v>50.54</c:v>
                </c:pt>
                <c:pt idx="12">
                  <c:v>51.62</c:v>
                </c:pt>
                <c:pt idx="13">
                  <c:v>50.95</c:v>
                </c:pt>
                <c:pt idx="14">
                  <c:v>52.27</c:v>
                </c:pt>
                <c:pt idx="15">
                  <c:v>50.18</c:v>
                </c:pt>
                <c:pt idx="16">
                  <c:v>51.1</c:v>
                </c:pt>
                <c:pt idx="17">
                  <c:v>51.53</c:v>
                </c:pt>
                <c:pt idx="18">
                  <c:v>53.38</c:v>
                </c:pt>
                <c:pt idx="19">
                  <c:v>56.03</c:v>
                </c:pt>
                <c:pt idx="20">
                  <c:v>50.19</c:v>
                </c:pt>
                <c:pt idx="21">
                  <c:v>50.11</c:v>
                </c:pt>
                <c:pt idx="22">
                  <c:v>51.65</c:v>
                </c:pt>
                <c:pt idx="23">
                  <c:v>49.99</c:v>
                </c:pt>
                <c:pt idx="24">
                  <c:v>52.5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8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2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7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5.0</c:v>
                </c:pt>
                <c:pt idx="2">
                  <c:v>11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6.0</c:v>
                </c:pt>
                <c:pt idx="2">
                  <c:v>1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09817621006983</c:v>
                </c:pt>
                <c:pt idx="2">
                  <c:v>0.900549311418265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8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5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9.6"/>
          <c:min val="0.720439449134612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1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7.0</c:v>
                </c:pt>
                <c:pt idx="2">
                  <c:v>3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9.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8735226490357</c:v>
                </c:pt>
                <c:pt idx="2">
                  <c:v>1.00116935200000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om Per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oeder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uinar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8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8.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1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9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7.0</c:v>
                </c:pt>
                <c:pt idx="2">
                  <c:v>10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2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37895939534838</c:v>
                </c:pt>
                <c:pt idx="2">
                  <c:v>0.99616818345592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8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0.796934546764738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3.0</c:v>
                </c:pt>
                <c:pt idx="2">
                  <c:v>1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9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3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2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42,0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03,9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32,5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642053</c:v>
                </c:pt>
                <c:pt idx="1">
                  <c:v>2070003</c:v>
                </c:pt>
                <c:pt idx="2">
                  <c:v>1141935</c:v>
                </c:pt>
                <c:pt idx="3">
                  <c:v>2339673</c:v>
                </c:pt>
                <c:pt idx="4">
                  <c:v>2412903</c:v>
                </c:pt>
                <c:pt idx="5">
                  <c:v>3246443</c:v>
                </c:pt>
                <c:pt idx="6">
                  <c:v>8079138</c:v>
                </c:pt>
                <c:pt idx="7">
                  <c:v>3698011</c:v>
                </c:pt>
                <c:pt idx="8">
                  <c:v>1763537</c:v>
                </c:pt>
                <c:pt idx="9">
                  <c:v>2215899</c:v>
                </c:pt>
                <c:pt idx="10">
                  <c:v>1705189</c:v>
                </c:pt>
                <c:pt idx="11">
                  <c:v>2316773</c:v>
                </c:pt>
                <c:pt idx="12">
                  <c:v>2423060</c:v>
                </c:pt>
                <c:pt idx="13">
                  <c:v>1903979</c:v>
                </c:pt>
                <c:pt idx="14">
                  <c:v>1037266</c:v>
                </c:pt>
                <c:pt idx="15">
                  <c:v>2242146</c:v>
                </c:pt>
                <c:pt idx="16">
                  <c:v>2663122</c:v>
                </c:pt>
                <c:pt idx="17">
                  <c:v>2795106</c:v>
                </c:pt>
                <c:pt idx="18">
                  <c:v>6833078</c:v>
                </c:pt>
                <c:pt idx="19">
                  <c:v>2025216</c:v>
                </c:pt>
                <c:pt idx="20">
                  <c:v>1671058</c:v>
                </c:pt>
                <c:pt idx="21">
                  <c:v>1982503</c:v>
                </c:pt>
                <c:pt idx="22">
                  <c:v>1698296</c:v>
                </c:pt>
                <c:pt idx="23">
                  <c:v>2050916</c:v>
                </c:pt>
                <c:pt idx="24">
                  <c:v>213257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1.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2.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3.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1.34</c:v>
                </c:pt>
                <c:pt idx="1">
                  <c:v>50.82</c:v>
                </c:pt>
                <c:pt idx="2">
                  <c:v>51.47</c:v>
                </c:pt>
                <c:pt idx="3">
                  <c:v>49.95</c:v>
                </c:pt>
                <c:pt idx="4">
                  <c:v>51.53</c:v>
                </c:pt>
                <c:pt idx="5">
                  <c:v>49.85</c:v>
                </c:pt>
                <c:pt idx="6">
                  <c:v>51.92</c:v>
                </c:pt>
                <c:pt idx="7">
                  <c:v>53.36</c:v>
                </c:pt>
                <c:pt idx="8">
                  <c:v>53.65</c:v>
                </c:pt>
                <c:pt idx="9">
                  <c:v>50.8</c:v>
                </c:pt>
                <c:pt idx="10">
                  <c:v>53.73</c:v>
                </c:pt>
                <c:pt idx="11">
                  <c:v>52.27</c:v>
                </c:pt>
                <c:pt idx="12">
                  <c:v>52.56</c:v>
                </c:pt>
                <c:pt idx="13">
                  <c:v>52.96</c:v>
                </c:pt>
                <c:pt idx="14">
                  <c:v>52.95</c:v>
                </c:pt>
                <c:pt idx="15">
                  <c:v>51.44</c:v>
                </c:pt>
                <c:pt idx="16">
                  <c:v>52.72</c:v>
                </c:pt>
                <c:pt idx="17">
                  <c:v>52.17</c:v>
                </c:pt>
                <c:pt idx="18">
                  <c:v>53.92</c:v>
                </c:pt>
                <c:pt idx="19">
                  <c:v>56.5</c:v>
                </c:pt>
                <c:pt idx="20">
                  <c:v>51.68</c:v>
                </c:pt>
                <c:pt idx="21">
                  <c:v>50.22</c:v>
                </c:pt>
                <c:pt idx="22">
                  <c:v>52.14</c:v>
                </c:pt>
                <c:pt idx="23">
                  <c:v>50.77</c:v>
                </c:pt>
                <c:pt idx="24">
                  <c:v>53.4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08480536984639</c:v>
                </c:pt>
                <c:pt idx="2">
                  <c:v>0.99325793888110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8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0.794606351104882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1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5.0</c:v>
                </c:pt>
                <c:pt idx="2">
                  <c:v>9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9422354767611</c:v>
                </c:pt>
                <c:pt idx="2">
                  <c:v>0.99311742973328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8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4493943786627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0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8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2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5.0</c:v>
                </c:pt>
                <c:pt idx="2">
                  <c:v>11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6,5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79,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3,4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26556</c:v>
                </c:pt>
                <c:pt idx="1">
                  <c:v>351333</c:v>
                </c:pt>
                <c:pt idx="2">
                  <c:v>350114</c:v>
                </c:pt>
                <c:pt idx="3">
                  <c:v>298849</c:v>
                </c:pt>
                <c:pt idx="4">
                  <c:v>270540</c:v>
                </c:pt>
                <c:pt idx="5">
                  <c:v>368370</c:v>
                </c:pt>
                <c:pt idx="6">
                  <c:v>1205959</c:v>
                </c:pt>
                <c:pt idx="7">
                  <c:v>400735</c:v>
                </c:pt>
                <c:pt idx="8">
                  <c:v>176329</c:v>
                </c:pt>
                <c:pt idx="9">
                  <c:v>210478</c:v>
                </c:pt>
                <c:pt idx="10">
                  <c:v>197754</c:v>
                </c:pt>
                <c:pt idx="11">
                  <c:v>323062</c:v>
                </c:pt>
                <c:pt idx="12">
                  <c:v>309208</c:v>
                </c:pt>
                <c:pt idx="13">
                  <c:v>379731</c:v>
                </c:pt>
                <c:pt idx="14">
                  <c:v>358076</c:v>
                </c:pt>
                <c:pt idx="15">
                  <c:v>285112</c:v>
                </c:pt>
                <c:pt idx="16">
                  <c:v>295767</c:v>
                </c:pt>
                <c:pt idx="17">
                  <c:v>316428</c:v>
                </c:pt>
                <c:pt idx="18">
                  <c:v>1113344</c:v>
                </c:pt>
                <c:pt idx="19">
                  <c:v>213851</c:v>
                </c:pt>
                <c:pt idx="20">
                  <c:v>162593</c:v>
                </c:pt>
                <c:pt idx="21">
                  <c:v>189621</c:v>
                </c:pt>
                <c:pt idx="22">
                  <c:v>217633</c:v>
                </c:pt>
                <c:pt idx="23">
                  <c:v>276396</c:v>
                </c:pt>
                <c:pt idx="24">
                  <c:v>2834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0.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3.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0.64</c:v>
                </c:pt>
                <c:pt idx="1">
                  <c:v>51.57</c:v>
                </c:pt>
                <c:pt idx="2">
                  <c:v>52.33</c:v>
                </c:pt>
                <c:pt idx="3">
                  <c:v>49.11</c:v>
                </c:pt>
                <c:pt idx="4">
                  <c:v>50.35</c:v>
                </c:pt>
                <c:pt idx="5">
                  <c:v>49.42</c:v>
                </c:pt>
                <c:pt idx="6">
                  <c:v>51.77</c:v>
                </c:pt>
                <c:pt idx="7">
                  <c:v>52.57</c:v>
                </c:pt>
                <c:pt idx="8">
                  <c:v>51.11</c:v>
                </c:pt>
                <c:pt idx="9">
                  <c:v>50.99</c:v>
                </c:pt>
                <c:pt idx="10">
                  <c:v>53.56</c:v>
                </c:pt>
                <c:pt idx="11">
                  <c:v>52.26</c:v>
                </c:pt>
                <c:pt idx="12">
                  <c:v>53.29</c:v>
                </c:pt>
                <c:pt idx="13">
                  <c:v>53.72</c:v>
                </c:pt>
                <c:pt idx="14">
                  <c:v>53.85</c:v>
                </c:pt>
                <c:pt idx="15">
                  <c:v>51.75</c:v>
                </c:pt>
                <c:pt idx="16">
                  <c:v>52.01</c:v>
                </c:pt>
                <c:pt idx="17">
                  <c:v>51.51</c:v>
                </c:pt>
                <c:pt idx="18">
                  <c:v>53.91</c:v>
                </c:pt>
                <c:pt idx="19">
                  <c:v>56.75</c:v>
                </c:pt>
                <c:pt idx="20">
                  <c:v>50.89</c:v>
                </c:pt>
                <c:pt idx="21">
                  <c:v>50.62</c:v>
                </c:pt>
                <c:pt idx="22">
                  <c:v>51.03</c:v>
                </c:pt>
                <c:pt idx="23">
                  <c:v>51.06</c:v>
                </c:pt>
                <c:pt idx="24">
                  <c:v>55.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72474701114318</c:v>
                </c:pt>
                <c:pt idx="2">
                  <c:v>0.99253828907766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8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94030631262134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6.0</c:v>
                </c:pt>
                <c:pt idx="2">
                  <c:v>11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0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8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10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1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07421177317815</c:v>
                </c:pt>
                <c:pt idx="2">
                  <c:v>0.98438406428695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6.0</c:v>
                </c:pt>
                <c:pt idx="2">
                  <c:v>8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0.787507251429567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1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1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4.0</c:v>
                </c:pt>
                <c:pt idx="2">
                  <c:v>7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3.0</c:v>
                </c:pt>
                <c:pt idx="2">
                  <c:v>8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360363609147384</c:v>
                </c:pt>
                <c:pt idx="2">
                  <c:v>1.03802654945533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9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8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6.0</c:v>
                </c:pt>
                <c:pt idx="2">
                  <c:v>10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4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0,7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0,8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6,7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70798</c:v>
                </c:pt>
                <c:pt idx="1">
                  <c:v>162035</c:v>
                </c:pt>
                <c:pt idx="2">
                  <c:v>126866</c:v>
                </c:pt>
                <c:pt idx="3">
                  <c:v>163263</c:v>
                </c:pt>
                <c:pt idx="4">
                  <c:v>154716</c:v>
                </c:pt>
                <c:pt idx="5">
                  <c:v>248460</c:v>
                </c:pt>
                <c:pt idx="6">
                  <c:v>788163</c:v>
                </c:pt>
                <c:pt idx="7">
                  <c:v>268005</c:v>
                </c:pt>
                <c:pt idx="8">
                  <c:v>148900</c:v>
                </c:pt>
                <c:pt idx="9">
                  <c:v>170191</c:v>
                </c:pt>
                <c:pt idx="10">
                  <c:v>113009</c:v>
                </c:pt>
                <c:pt idx="11">
                  <c:v>173876</c:v>
                </c:pt>
                <c:pt idx="12">
                  <c:v>159144</c:v>
                </c:pt>
                <c:pt idx="13">
                  <c:v>160851</c:v>
                </c:pt>
                <c:pt idx="14">
                  <c:v>126927</c:v>
                </c:pt>
                <c:pt idx="15">
                  <c:v>160132</c:v>
                </c:pt>
                <c:pt idx="16">
                  <c:v>182218</c:v>
                </c:pt>
                <c:pt idx="17">
                  <c:v>209555</c:v>
                </c:pt>
                <c:pt idx="18">
                  <c:v>699923</c:v>
                </c:pt>
                <c:pt idx="19">
                  <c:v>143573</c:v>
                </c:pt>
                <c:pt idx="20">
                  <c:v>139782</c:v>
                </c:pt>
                <c:pt idx="21">
                  <c:v>139371</c:v>
                </c:pt>
                <c:pt idx="22">
                  <c:v>119868</c:v>
                </c:pt>
                <c:pt idx="23">
                  <c:v>144089</c:v>
                </c:pt>
                <c:pt idx="24">
                  <c:v>1367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1.9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4.7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1.91</c:v>
                </c:pt>
                <c:pt idx="1">
                  <c:v>51.82</c:v>
                </c:pt>
                <c:pt idx="2">
                  <c:v>53.04</c:v>
                </c:pt>
                <c:pt idx="3">
                  <c:v>50.34</c:v>
                </c:pt>
                <c:pt idx="4">
                  <c:v>53.09</c:v>
                </c:pt>
                <c:pt idx="5">
                  <c:v>50.53</c:v>
                </c:pt>
                <c:pt idx="6">
                  <c:v>52.34</c:v>
                </c:pt>
                <c:pt idx="7">
                  <c:v>54.14</c:v>
                </c:pt>
                <c:pt idx="8">
                  <c:v>55.23</c:v>
                </c:pt>
                <c:pt idx="9">
                  <c:v>52.35</c:v>
                </c:pt>
                <c:pt idx="10">
                  <c:v>54.49</c:v>
                </c:pt>
                <c:pt idx="11">
                  <c:v>52.72</c:v>
                </c:pt>
                <c:pt idx="12">
                  <c:v>54.04</c:v>
                </c:pt>
                <c:pt idx="13">
                  <c:v>54.71</c:v>
                </c:pt>
                <c:pt idx="14">
                  <c:v>56.31</c:v>
                </c:pt>
                <c:pt idx="15">
                  <c:v>52.49</c:v>
                </c:pt>
                <c:pt idx="16">
                  <c:v>52.97</c:v>
                </c:pt>
                <c:pt idx="17">
                  <c:v>52.6</c:v>
                </c:pt>
                <c:pt idx="18">
                  <c:v>53.58</c:v>
                </c:pt>
                <c:pt idx="19">
                  <c:v>57.29</c:v>
                </c:pt>
                <c:pt idx="20">
                  <c:v>54.01</c:v>
                </c:pt>
                <c:pt idx="21">
                  <c:v>52.22</c:v>
                </c:pt>
                <c:pt idx="22">
                  <c:v>52.34</c:v>
                </c:pt>
                <c:pt idx="23">
                  <c:v>52.19</c:v>
                </c:pt>
                <c:pt idx="24">
                  <c:v>55.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28979325999554</c:v>
                </c:pt>
                <c:pt idx="2">
                  <c:v>0.98311014133508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8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86488113068067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5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0.0</c:v>
                </c:pt>
                <c:pt idx="2">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13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2.0</c:v>
                </c:pt>
                <c:pt idx="2">
                  <c:v>15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03536528617962</c:v>
                </c:pt>
                <c:pt idx="2">
                  <c:v>1.004960676513336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9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6.0</c:v>
                </c:pt>
                <c:pt idx="2">
                  <c:v>13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5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1.0</c:v>
                </c:pt>
                <c:pt idx="2">
                  <c:v>6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Demoisel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9.0</c:v>
                </c:pt>
                <c:pt idx="2">
                  <c:v>15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2.0</c:v>
                </c:pt>
                <c:pt idx="2">
                  <c:v>14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91224485437031</c:v>
                </c:pt>
                <c:pt idx="2">
                  <c:v>0.88530888017143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esserat De Bellef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Demoisell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708247104137150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1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8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1.0</c:v>
                </c:pt>
                <c:pt idx="2">
                  <c:v>14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1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69018871494802</c:v>
                </c:pt>
                <c:pt idx="2">
                  <c:v>1.00447297366141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8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2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12658305587361</c:v>
                </c:pt>
                <c:pt idx="2">
                  <c:v>1.00138035307208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u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uinar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emoisel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urent Perri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8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3,0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8,5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8,8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3021</c:v>
                </c:pt>
                <c:pt idx="1">
                  <c:v>80221</c:v>
                </c:pt>
                <c:pt idx="2">
                  <c:v>57916</c:v>
                </c:pt>
                <c:pt idx="3">
                  <c:v>72344</c:v>
                </c:pt>
                <c:pt idx="4">
                  <c:v>74100</c:v>
                </c:pt>
                <c:pt idx="5">
                  <c:v>119037</c:v>
                </c:pt>
                <c:pt idx="6">
                  <c:v>385454</c:v>
                </c:pt>
                <c:pt idx="7">
                  <c:v>122984</c:v>
                </c:pt>
                <c:pt idx="8">
                  <c:v>50168</c:v>
                </c:pt>
                <c:pt idx="9">
                  <c:v>68887</c:v>
                </c:pt>
                <c:pt idx="10">
                  <c:v>50068</c:v>
                </c:pt>
                <c:pt idx="11">
                  <c:v>91179</c:v>
                </c:pt>
                <c:pt idx="12">
                  <c:v>78671</c:v>
                </c:pt>
                <c:pt idx="13">
                  <c:v>78537</c:v>
                </c:pt>
                <c:pt idx="14">
                  <c:v>53158</c:v>
                </c:pt>
                <c:pt idx="15">
                  <c:v>71685</c:v>
                </c:pt>
                <c:pt idx="16">
                  <c:v>88581</c:v>
                </c:pt>
                <c:pt idx="17">
                  <c:v>100817</c:v>
                </c:pt>
                <c:pt idx="18">
                  <c:v>331831</c:v>
                </c:pt>
                <c:pt idx="19">
                  <c:v>57688</c:v>
                </c:pt>
                <c:pt idx="20">
                  <c:v>43205</c:v>
                </c:pt>
                <c:pt idx="21">
                  <c:v>57006</c:v>
                </c:pt>
                <c:pt idx="22">
                  <c:v>57182</c:v>
                </c:pt>
                <c:pt idx="23">
                  <c:v>71699</c:v>
                </c:pt>
                <c:pt idx="24">
                  <c:v>6883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7.0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3.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7.09</c:v>
                </c:pt>
                <c:pt idx="1">
                  <c:v>46.29</c:v>
                </c:pt>
                <c:pt idx="2">
                  <c:v>49.88</c:v>
                </c:pt>
                <c:pt idx="3">
                  <c:v>46.49</c:v>
                </c:pt>
                <c:pt idx="4">
                  <c:v>47.26</c:v>
                </c:pt>
                <c:pt idx="5">
                  <c:v>47.12</c:v>
                </c:pt>
                <c:pt idx="6">
                  <c:v>49.75</c:v>
                </c:pt>
                <c:pt idx="7">
                  <c:v>49.95</c:v>
                </c:pt>
                <c:pt idx="8">
                  <c:v>52.2</c:v>
                </c:pt>
                <c:pt idx="9">
                  <c:v>47.25</c:v>
                </c:pt>
                <c:pt idx="10">
                  <c:v>50.83</c:v>
                </c:pt>
                <c:pt idx="11">
                  <c:v>50.85</c:v>
                </c:pt>
                <c:pt idx="12">
                  <c:v>49.63</c:v>
                </c:pt>
                <c:pt idx="13">
                  <c:v>48.72</c:v>
                </c:pt>
                <c:pt idx="14">
                  <c:v>51.91</c:v>
                </c:pt>
                <c:pt idx="15">
                  <c:v>49.1</c:v>
                </c:pt>
                <c:pt idx="16">
                  <c:v>49.71</c:v>
                </c:pt>
                <c:pt idx="17">
                  <c:v>50.84</c:v>
                </c:pt>
                <c:pt idx="18">
                  <c:v>51.82</c:v>
                </c:pt>
                <c:pt idx="19">
                  <c:v>55.31</c:v>
                </c:pt>
                <c:pt idx="20">
                  <c:v>48.38</c:v>
                </c:pt>
                <c:pt idx="21">
                  <c:v>47.11</c:v>
                </c:pt>
                <c:pt idx="22">
                  <c:v>50.2</c:v>
                </c:pt>
                <c:pt idx="23">
                  <c:v>49.76</c:v>
                </c:pt>
                <c:pt idx="24">
                  <c:v>53.0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783072289156625</c:v>
                </c:pt>
                <c:pt idx="2">
                  <c:v>1.093138554216867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826457831325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5643195544466</c:v>
                </c:pt>
                <c:pt idx="2">
                  <c:v>1.09114197196002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97251455643557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521658845253637</c:v>
                </c:pt>
                <c:pt idx="2">
                  <c:v>1.0624889735718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6173270762029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35065508255794</c:v>
                </c:pt>
                <c:pt idx="2">
                  <c:v>1.097231543116947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86805240660463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716209687871896</c:v>
                </c:pt>
                <c:pt idx="2">
                  <c:v>1.057995263288126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77296775029751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4,3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8,2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2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4352</c:v>
                </c:pt>
                <c:pt idx="1">
                  <c:v>41344</c:v>
                </c:pt>
                <c:pt idx="2">
                  <c:v>35973</c:v>
                </c:pt>
                <c:pt idx="3">
                  <c:v>36392</c:v>
                </c:pt>
                <c:pt idx="4">
                  <c:v>34827</c:v>
                </c:pt>
                <c:pt idx="5">
                  <c:v>76417</c:v>
                </c:pt>
                <c:pt idx="6">
                  <c:v>150707</c:v>
                </c:pt>
                <c:pt idx="7">
                  <c:v>56873</c:v>
                </c:pt>
                <c:pt idx="8">
                  <c:v>23058</c:v>
                </c:pt>
                <c:pt idx="9">
                  <c:v>29515</c:v>
                </c:pt>
                <c:pt idx="10">
                  <c:v>21171</c:v>
                </c:pt>
                <c:pt idx="11">
                  <c:v>40957</c:v>
                </c:pt>
                <c:pt idx="12">
                  <c:v>29451</c:v>
                </c:pt>
                <c:pt idx="13">
                  <c:v>38228</c:v>
                </c:pt>
                <c:pt idx="14">
                  <c:v>31757</c:v>
                </c:pt>
                <c:pt idx="15">
                  <c:v>31195</c:v>
                </c:pt>
                <c:pt idx="16">
                  <c:v>32320</c:v>
                </c:pt>
                <c:pt idx="17">
                  <c:v>40534</c:v>
                </c:pt>
                <c:pt idx="18">
                  <c:v>138950</c:v>
                </c:pt>
                <c:pt idx="19">
                  <c:v>32388</c:v>
                </c:pt>
                <c:pt idx="20">
                  <c:v>24092</c:v>
                </c:pt>
                <c:pt idx="21">
                  <c:v>28612</c:v>
                </c:pt>
                <c:pt idx="22">
                  <c:v>28879</c:v>
                </c:pt>
                <c:pt idx="23">
                  <c:v>30936</c:v>
                </c:pt>
                <c:pt idx="24">
                  <c:v>342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6.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9.1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6.3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6.88</c:v>
                </c:pt>
                <c:pt idx="1">
                  <c:v>48.3</c:v>
                </c:pt>
                <c:pt idx="2">
                  <c:v>53.14</c:v>
                </c:pt>
                <c:pt idx="3">
                  <c:v>48.46</c:v>
                </c:pt>
                <c:pt idx="4">
                  <c:v>50.11</c:v>
                </c:pt>
                <c:pt idx="5">
                  <c:v>47.97</c:v>
                </c:pt>
                <c:pt idx="6">
                  <c:v>49.69</c:v>
                </c:pt>
                <c:pt idx="7">
                  <c:v>52.51</c:v>
                </c:pt>
                <c:pt idx="8">
                  <c:v>50.9</c:v>
                </c:pt>
                <c:pt idx="9">
                  <c:v>47.84</c:v>
                </c:pt>
                <c:pt idx="10">
                  <c:v>50.29</c:v>
                </c:pt>
                <c:pt idx="11">
                  <c:v>49.95</c:v>
                </c:pt>
                <c:pt idx="12">
                  <c:v>51.04</c:v>
                </c:pt>
                <c:pt idx="13">
                  <c:v>49.14</c:v>
                </c:pt>
                <c:pt idx="14">
                  <c:v>52.15</c:v>
                </c:pt>
                <c:pt idx="15">
                  <c:v>49.05</c:v>
                </c:pt>
                <c:pt idx="16">
                  <c:v>52.98</c:v>
                </c:pt>
                <c:pt idx="17">
                  <c:v>52.3</c:v>
                </c:pt>
                <c:pt idx="18">
                  <c:v>52.47</c:v>
                </c:pt>
                <c:pt idx="19">
                  <c:v>55.08</c:v>
                </c:pt>
                <c:pt idx="20">
                  <c:v>48.18</c:v>
                </c:pt>
                <c:pt idx="21">
                  <c:v>47.93</c:v>
                </c:pt>
                <c:pt idx="22">
                  <c:v>49.71</c:v>
                </c:pt>
                <c:pt idx="23">
                  <c:v>50.22</c:v>
                </c:pt>
                <c:pt idx="24">
                  <c:v>56.3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19150448115954</c:v>
                </c:pt>
                <c:pt idx="2">
                  <c:v>1.1391272918849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98197900708605</c:v>
                </c:pt>
                <c:pt idx="2">
                  <c:v>1.02157755414688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9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5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1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1969</c:v>
                </c:pt>
                <c:pt idx="1">
                  <c:v>18269</c:v>
                </c:pt>
                <c:pt idx="2">
                  <c:v>15439</c:v>
                </c:pt>
                <c:pt idx="3">
                  <c:v>20999</c:v>
                </c:pt>
                <c:pt idx="4">
                  <c:v>17185</c:v>
                </c:pt>
                <c:pt idx="5">
                  <c:v>29918</c:v>
                </c:pt>
                <c:pt idx="6">
                  <c:v>101490</c:v>
                </c:pt>
                <c:pt idx="7">
                  <c:v>28836</c:v>
                </c:pt>
                <c:pt idx="8">
                  <c:v>15287</c:v>
                </c:pt>
                <c:pt idx="9">
                  <c:v>18877</c:v>
                </c:pt>
                <c:pt idx="10">
                  <c:v>12829</c:v>
                </c:pt>
                <c:pt idx="11">
                  <c:v>22083</c:v>
                </c:pt>
                <c:pt idx="12">
                  <c:v>19924</c:v>
                </c:pt>
                <c:pt idx="13">
                  <c:v>18524</c:v>
                </c:pt>
                <c:pt idx="14">
                  <c:v>16279</c:v>
                </c:pt>
                <c:pt idx="15">
                  <c:v>19070</c:v>
                </c:pt>
                <c:pt idx="16">
                  <c:v>24768</c:v>
                </c:pt>
                <c:pt idx="17">
                  <c:v>25348</c:v>
                </c:pt>
                <c:pt idx="18">
                  <c:v>86602</c:v>
                </c:pt>
                <c:pt idx="19">
                  <c:v>16208</c:v>
                </c:pt>
                <c:pt idx="20">
                  <c:v>13015</c:v>
                </c:pt>
                <c:pt idx="21">
                  <c:v>12673</c:v>
                </c:pt>
                <c:pt idx="22">
                  <c:v>13685</c:v>
                </c:pt>
                <c:pt idx="23">
                  <c:v>24688</c:v>
                </c:pt>
                <c:pt idx="24">
                  <c:v>1618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8.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2.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4.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8.5</c:v>
                </c:pt>
                <c:pt idx="1">
                  <c:v>49.78</c:v>
                </c:pt>
                <c:pt idx="2">
                  <c:v>53.06</c:v>
                </c:pt>
                <c:pt idx="3">
                  <c:v>50.12</c:v>
                </c:pt>
                <c:pt idx="4">
                  <c:v>50.84</c:v>
                </c:pt>
                <c:pt idx="5">
                  <c:v>48.18</c:v>
                </c:pt>
                <c:pt idx="6">
                  <c:v>52.18</c:v>
                </c:pt>
                <c:pt idx="7">
                  <c:v>52.81</c:v>
                </c:pt>
                <c:pt idx="8">
                  <c:v>52.9</c:v>
                </c:pt>
                <c:pt idx="9">
                  <c:v>52.0</c:v>
                </c:pt>
                <c:pt idx="10">
                  <c:v>50.11</c:v>
                </c:pt>
                <c:pt idx="11">
                  <c:v>52.45</c:v>
                </c:pt>
                <c:pt idx="12">
                  <c:v>52.57</c:v>
                </c:pt>
                <c:pt idx="13">
                  <c:v>52.62</c:v>
                </c:pt>
                <c:pt idx="14">
                  <c:v>53.37</c:v>
                </c:pt>
                <c:pt idx="15">
                  <c:v>53.12</c:v>
                </c:pt>
                <c:pt idx="16">
                  <c:v>53.49</c:v>
                </c:pt>
                <c:pt idx="17">
                  <c:v>53.93</c:v>
                </c:pt>
                <c:pt idx="18">
                  <c:v>53.72</c:v>
                </c:pt>
                <c:pt idx="19">
                  <c:v>58.72</c:v>
                </c:pt>
                <c:pt idx="20">
                  <c:v>53.78</c:v>
                </c:pt>
                <c:pt idx="21">
                  <c:v>50.9</c:v>
                </c:pt>
                <c:pt idx="22">
                  <c:v>49.4</c:v>
                </c:pt>
                <c:pt idx="23">
                  <c:v>51.01</c:v>
                </c:pt>
                <c:pt idx="24">
                  <c:v>54.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790939305925682</c:v>
                </c:pt>
                <c:pt idx="2">
                  <c:v>1.09678713656915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atriarch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83275144474054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ionett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erlino</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1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ilavero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9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iccadonna</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7224880382777</c:v>
                </c:pt>
                <c:pt idx="2">
                  <c:v>0.98382775119617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ionett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erlino</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ilaveron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iccadonna</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787062200956937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2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5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0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206</c:v>
                </c:pt>
                <c:pt idx="1">
                  <c:v>11604</c:v>
                </c:pt>
                <c:pt idx="2">
                  <c:v>9502</c:v>
                </c:pt>
                <c:pt idx="3">
                  <c:v>10701</c:v>
                </c:pt>
                <c:pt idx="4">
                  <c:v>15056</c:v>
                </c:pt>
                <c:pt idx="5">
                  <c:v>19095</c:v>
                </c:pt>
                <c:pt idx="6">
                  <c:v>67884</c:v>
                </c:pt>
                <c:pt idx="7">
                  <c:v>20983</c:v>
                </c:pt>
                <c:pt idx="8">
                  <c:v>7796</c:v>
                </c:pt>
                <c:pt idx="9">
                  <c:v>12407</c:v>
                </c:pt>
                <c:pt idx="10">
                  <c:v>9007</c:v>
                </c:pt>
                <c:pt idx="11">
                  <c:v>15109</c:v>
                </c:pt>
                <c:pt idx="12">
                  <c:v>12768</c:v>
                </c:pt>
                <c:pt idx="13">
                  <c:v>15504</c:v>
                </c:pt>
                <c:pt idx="14">
                  <c:v>10849</c:v>
                </c:pt>
                <c:pt idx="15">
                  <c:v>15531</c:v>
                </c:pt>
                <c:pt idx="16">
                  <c:v>16006</c:v>
                </c:pt>
                <c:pt idx="17">
                  <c:v>20577</c:v>
                </c:pt>
                <c:pt idx="18">
                  <c:v>64260</c:v>
                </c:pt>
                <c:pt idx="19">
                  <c:v>11292</c:v>
                </c:pt>
                <c:pt idx="20">
                  <c:v>9278</c:v>
                </c:pt>
                <c:pt idx="21">
                  <c:v>8721</c:v>
                </c:pt>
                <c:pt idx="22">
                  <c:v>12785</c:v>
                </c:pt>
                <c:pt idx="23">
                  <c:v>13251</c:v>
                </c:pt>
                <c:pt idx="24">
                  <c:v>140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5.7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3.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2.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5.75</c:v>
                </c:pt>
                <c:pt idx="1">
                  <c:v>50.45</c:v>
                </c:pt>
                <c:pt idx="2">
                  <c:v>54.61</c:v>
                </c:pt>
                <c:pt idx="3">
                  <c:v>54.88</c:v>
                </c:pt>
                <c:pt idx="4">
                  <c:v>53.39</c:v>
                </c:pt>
                <c:pt idx="5">
                  <c:v>48.59</c:v>
                </c:pt>
                <c:pt idx="6">
                  <c:v>51.12</c:v>
                </c:pt>
                <c:pt idx="7">
                  <c:v>48.91</c:v>
                </c:pt>
                <c:pt idx="8">
                  <c:v>51.63</c:v>
                </c:pt>
                <c:pt idx="9">
                  <c:v>51.27</c:v>
                </c:pt>
                <c:pt idx="10">
                  <c:v>54.26</c:v>
                </c:pt>
                <c:pt idx="11">
                  <c:v>55.55</c:v>
                </c:pt>
                <c:pt idx="12">
                  <c:v>52.98</c:v>
                </c:pt>
                <c:pt idx="13">
                  <c:v>53.65</c:v>
                </c:pt>
                <c:pt idx="14">
                  <c:v>52.16</c:v>
                </c:pt>
                <c:pt idx="15">
                  <c:v>51.43</c:v>
                </c:pt>
                <c:pt idx="16">
                  <c:v>48.95</c:v>
                </c:pt>
                <c:pt idx="17">
                  <c:v>52.49</c:v>
                </c:pt>
                <c:pt idx="18">
                  <c:v>54.18</c:v>
                </c:pt>
                <c:pt idx="19">
                  <c:v>58.21</c:v>
                </c:pt>
                <c:pt idx="20">
                  <c:v>50.7</c:v>
                </c:pt>
                <c:pt idx="21">
                  <c:v>45.66</c:v>
                </c:pt>
                <c:pt idx="22">
                  <c:v>53.72</c:v>
                </c:pt>
                <c:pt idx="23">
                  <c:v>50.58</c:v>
                </c:pt>
                <c:pt idx="24">
                  <c:v>52.7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4.0</c:v>
                </c:pt>
                <c:pt idx="2">
                  <c:v>1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1.0</c:v>
                </c:pt>
                <c:pt idx="2">
                  <c:v>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13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26039777625829</c:v>
                </c:pt>
                <c:pt idx="2">
                  <c:v>0.93999910812498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6083182210066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0.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62.0</c:v>
                </c:pt>
                <c:pt idx="2">
                  <c:v>16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473268977425813</c:v>
                </c:pt>
                <c:pt idx="2">
                  <c:v>0.936527311565456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9.0</c:v>
                </c:pt>
                <c:pt idx="2">
                  <c:v>8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74922184925236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3.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3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40069748725744</c:v>
                </c:pt>
                <c:pt idx="2">
                  <c:v>0.9336045783778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6883662702316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5.0</c:v>
                </c:pt>
                <c:pt idx="2">
                  <c:v>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2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240042084049552</c:v>
                </c:pt>
                <c:pt idx="2">
                  <c:v>0.933747258609448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7.0</c:v>
                </c:pt>
                <c:pt idx="2">
                  <c:v>8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39203366723964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7.0</c:v>
                </c:pt>
                <c:pt idx="2">
                  <c:v>4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7.0</c:v>
                </c:pt>
                <c:pt idx="2">
                  <c:v>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29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5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1,8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8,8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464,29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291850</c:v>
                </c:pt>
                <c:pt idx="1">
                  <c:v>402045</c:v>
                </c:pt>
                <c:pt idx="2">
                  <c:v>464824</c:v>
                </c:pt>
                <c:pt idx="3">
                  <c:v>500058</c:v>
                </c:pt>
                <c:pt idx="4">
                  <c:v>999950</c:v>
                </c:pt>
                <c:pt idx="5">
                  <c:v>528393</c:v>
                </c:pt>
                <c:pt idx="6">
                  <c:v>383607</c:v>
                </c:pt>
                <c:pt idx="7">
                  <c:v>430537</c:v>
                </c:pt>
                <c:pt idx="8">
                  <c:v>495954</c:v>
                </c:pt>
                <c:pt idx="9">
                  <c:v>506105</c:v>
                </c:pt>
                <c:pt idx="10">
                  <c:v>595881</c:v>
                </c:pt>
                <c:pt idx="11">
                  <c:v>438630</c:v>
                </c:pt>
                <c:pt idx="12">
                  <c:v>324196</c:v>
                </c:pt>
                <c:pt idx="13">
                  <c:v>408856</c:v>
                </c:pt>
                <c:pt idx="14">
                  <c:v>491631</c:v>
                </c:pt>
                <c:pt idx="15">
                  <c:v>622653</c:v>
                </c:pt>
                <c:pt idx="16">
                  <c:v>877356</c:v>
                </c:pt>
                <c:pt idx="17">
                  <c:v>421334</c:v>
                </c:pt>
                <c:pt idx="18">
                  <c:v>343940</c:v>
                </c:pt>
                <c:pt idx="19">
                  <c:v>367003</c:v>
                </c:pt>
                <c:pt idx="20">
                  <c:v>421075</c:v>
                </c:pt>
                <c:pt idx="21">
                  <c:v>512685</c:v>
                </c:pt>
                <c:pt idx="22">
                  <c:v>4642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0.7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1.9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32.45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30.71</c:v>
                </c:pt>
                <c:pt idx="1">
                  <c:v>29.62</c:v>
                </c:pt>
                <c:pt idx="2">
                  <c:v>30.64</c:v>
                </c:pt>
                <c:pt idx="3">
                  <c:v>30.32</c:v>
                </c:pt>
                <c:pt idx="4">
                  <c:v>31.15</c:v>
                </c:pt>
                <c:pt idx="5">
                  <c:v>32.93</c:v>
                </c:pt>
                <c:pt idx="6">
                  <c:v>32.31</c:v>
                </c:pt>
                <c:pt idx="7">
                  <c:v>32.18</c:v>
                </c:pt>
                <c:pt idx="8">
                  <c:v>33.94</c:v>
                </c:pt>
                <c:pt idx="9">
                  <c:v>33.78</c:v>
                </c:pt>
                <c:pt idx="10">
                  <c:v>30.05</c:v>
                </c:pt>
                <c:pt idx="11">
                  <c:v>30.13</c:v>
                </c:pt>
                <c:pt idx="12">
                  <c:v>30.36</c:v>
                </c:pt>
                <c:pt idx="13">
                  <c:v>31.97</c:v>
                </c:pt>
                <c:pt idx="14">
                  <c:v>29.84</c:v>
                </c:pt>
                <c:pt idx="15">
                  <c:v>31.91</c:v>
                </c:pt>
                <c:pt idx="16">
                  <c:v>32.63</c:v>
                </c:pt>
                <c:pt idx="17">
                  <c:v>32.31</c:v>
                </c:pt>
                <c:pt idx="18">
                  <c:v>32.4</c:v>
                </c:pt>
                <c:pt idx="19">
                  <c:v>32.18</c:v>
                </c:pt>
                <c:pt idx="20">
                  <c:v>31.68</c:v>
                </c:pt>
                <c:pt idx="21">
                  <c:v>30.89</c:v>
                </c:pt>
                <c:pt idx="22">
                  <c:v>32.4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53,9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8,0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83,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53997</c:v>
                </c:pt>
                <c:pt idx="1">
                  <c:v>726341</c:v>
                </c:pt>
                <c:pt idx="2">
                  <c:v>473402</c:v>
                </c:pt>
                <c:pt idx="3">
                  <c:v>747863</c:v>
                </c:pt>
                <c:pt idx="4">
                  <c:v>741234</c:v>
                </c:pt>
                <c:pt idx="5">
                  <c:v>1054571</c:v>
                </c:pt>
                <c:pt idx="6">
                  <c:v>2739456</c:v>
                </c:pt>
                <c:pt idx="7">
                  <c:v>1137597</c:v>
                </c:pt>
                <c:pt idx="8">
                  <c:v>559785</c:v>
                </c:pt>
                <c:pt idx="9">
                  <c:v>687239</c:v>
                </c:pt>
                <c:pt idx="10">
                  <c:v>520720</c:v>
                </c:pt>
                <c:pt idx="11">
                  <c:v>758801</c:v>
                </c:pt>
                <c:pt idx="12">
                  <c:v>769641</c:v>
                </c:pt>
                <c:pt idx="13">
                  <c:v>648011</c:v>
                </c:pt>
                <c:pt idx="14">
                  <c:v>444414</c:v>
                </c:pt>
                <c:pt idx="15">
                  <c:v>717548</c:v>
                </c:pt>
                <c:pt idx="16">
                  <c:v>824125</c:v>
                </c:pt>
                <c:pt idx="17">
                  <c:v>883258</c:v>
                </c:pt>
                <c:pt idx="18">
                  <c:v>2326895</c:v>
                </c:pt>
                <c:pt idx="19">
                  <c:v>608319</c:v>
                </c:pt>
                <c:pt idx="20">
                  <c:v>490022</c:v>
                </c:pt>
                <c:pt idx="21">
                  <c:v>606709</c:v>
                </c:pt>
                <c:pt idx="22">
                  <c:v>539369</c:v>
                </c:pt>
                <c:pt idx="23">
                  <c:v>661245</c:v>
                </c:pt>
                <c:pt idx="24">
                  <c:v>68388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9.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1.6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2.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9.98</c:v>
                </c:pt>
                <c:pt idx="1">
                  <c:v>50.25</c:v>
                </c:pt>
                <c:pt idx="2">
                  <c:v>49.75</c:v>
                </c:pt>
                <c:pt idx="3">
                  <c:v>49.08</c:v>
                </c:pt>
                <c:pt idx="4">
                  <c:v>50.03</c:v>
                </c:pt>
                <c:pt idx="5">
                  <c:v>48.62</c:v>
                </c:pt>
                <c:pt idx="6">
                  <c:v>51.17</c:v>
                </c:pt>
                <c:pt idx="7">
                  <c:v>52.56</c:v>
                </c:pt>
                <c:pt idx="8">
                  <c:v>52.85</c:v>
                </c:pt>
                <c:pt idx="9">
                  <c:v>49.76</c:v>
                </c:pt>
                <c:pt idx="10">
                  <c:v>52.1</c:v>
                </c:pt>
                <c:pt idx="11">
                  <c:v>51.24</c:v>
                </c:pt>
                <c:pt idx="12">
                  <c:v>51.62</c:v>
                </c:pt>
                <c:pt idx="13">
                  <c:v>51.66</c:v>
                </c:pt>
                <c:pt idx="14">
                  <c:v>51.87</c:v>
                </c:pt>
                <c:pt idx="15">
                  <c:v>50.52</c:v>
                </c:pt>
                <c:pt idx="16">
                  <c:v>51.52</c:v>
                </c:pt>
                <c:pt idx="17">
                  <c:v>51.17</c:v>
                </c:pt>
                <c:pt idx="18">
                  <c:v>53.01</c:v>
                </c:pt>
                <c:pt idx="19">
                  <c:v>56.08</c:v>
                </c:pt>
                <c:pt idx="20">
                  <c:v>50.55</c:v>
                </c:pt>
                <c:pt idx="21">
                  <c:v>49.91</c:v>
                </c:pt>
                <c:pt idx="22">
                  <c:v>51.32</c:v>
                </c:pt>
                <c:pt idx="23">
                  <c:v>50.35</c:v>
                </c:pt>
                <c:pt idx="24">
                  <c:v>52.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8844253634726708</c:v>
                </c:pt>
                <c:pt idx="2">
                  <c:v>0.87708894477596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8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7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01671155820771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5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8.0</c:v>
                </c:pt>
                <c:pt idx="2">
                  <c:v>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1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427091889016656</c:v>
                </c:pt>
                <c:pt idx="2">
                  <c:v>0.96653603360476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9.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6.0</c:v>
                </c:pt>
                <c:pt idx="2">
                  <c:v>8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5416735112133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0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1.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3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26507476544541</c:v>
                </c:pt>
                <c:pt idx="2">
                  <c:v>0.92951756257908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1205981235632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2.0</c:v>
                </c:pt>
                <c:pt idx="2">
                  <c:v>11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7.0</c:v>
                </c:pt>
                <c:pt idx="2">
                  <c:v>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12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311200109224959</c:v>
                </c:pt>
                <c:pt idx="2">
                  <c:v>0.934290568728287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tteg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ontarin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avia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9.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44896008737996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8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9.0</c:v>
                </c:pt>
                <c:pt idx="2">
                  <c:v>8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04055008968854</c:v>
                </c:pt>
                <c:pt idx="2">
                  <c:v>1.122655867804533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59.0</c:v>
                </c:pt>
                <c:pt idx="2">
                  <c:v>16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6.0</c:v>
                </c:pt>
                <c:pt idx="2">
                  <c:v>7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57241704452485</c:v>
                </c:pt>
                <c:pt idx="2">
                  <c:v>1.12533105925093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7.0</c:v>
                </c:pt>
                <c:pt idx="2">
                  <c:v>17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7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0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73195004410874</c:v>
                </c:pt>
                <c:pt idx="2">
                  <c:v>1.10693272869110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3.0</c:v>
                </c:pt>
                <c:pt idx="2">
                  <c:v>11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9.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8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1,8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4,6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2,2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91897</c:v>
                </c:pt>
                <c:pt idx="1">
                  <c:v>119737</c:v>
                </c:pt>
                <c:pt idx="2">
                  <c:v>72133</c:v>
                </c:pt>
                <c:pt idx="3">
                  <c:v>59992</c:v>
                </c:pt>
                <c:pt idx="4">
                  <c:v>115833</c:v>
                </c:pt>
                <c:pt idx="5">
                  <c:v>121374</c:v>
                </c:pt>
                <c:pt idx="6">
                  <c:v>326506</c:v>
                </c:pt>
                <c:pt idx="7">
                  <c:v>237733</c:v>
                </c:pt>
                <c:pt idx="8">
                  <c:v>124668</c:v>
                </c:pt>
                <c:pt idx="9">
                  <c:v>145276</c:v>
                </c:pt>
                <c:pt idx="10">
                  <c:v>106336</c:v>
                </c:pt>
                <c:pt idx="11">
                  <c:v>93495</c:v>
                </c:pt>
                <c:pt idx="12">
                  <c:v>156177</c:v>
                </c:pt>
                <c:pt idx="13">
                  <c:v>124639</c:v>
                </c:pt>
                <c:pt idx="14">
                  <c:v>75729</c:v>
                </c:pt>
                <c:pt idx="15">
                  <c:v>64094</c:v>
                </c:pt>
                <c:pt idx="16">
                  <c:v>130437</c:v>
                </c:pt>
                <c:pt idx="17">
                  <c:v>108829</c:v>
                </c:pt>
                <c:pt idx="18">
                  <c:v>222060</c:v>
                </c:pt>
                <c:pt idx="19">
                  <c:v>180033</c:v>
                </c:pt>
                <c:pt idx="20">
                  <c:v>71228</c:v>
                </c:pt>
                <c:pt idx="21">
                  <c:v>87564</c:v>
                </c:pt>
                <c:pt idx="22">
                  <c:v>105379</c:v>
                </c:pt>
                <c:pt idx="23">
                  <c:v>113590</c:v>
                </c:pt>
                <c:pt idx="24">
                  <c:v>1422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5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8.9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9.77</c:v>
                </c:pt>
                <c:pt idx="1">
                  <c:v>39.25</c:v>
                </c:pt>
                <c:pt idx="2">
                  <c:v>39.14</c:v>
                </c:pt>
                <c:pt idx="3">
                  <c:v>42.04</c:v>
                </c:pt>
                <c:pt idx="4">
                  <c:v>40.93</c:v>
                </c:pt>
                <c:pt idx="5">
                  <c:v>38.35</c:v>
                </c:pt>
                <c:pt idx="6">
                  <c:v>36.74</c:v>
                </c:pt>
                <c:pt idx="7">
                  <c:v>38.12</c:v>
                </c:pt>
                <c:pt idx="8">
                  <c:v>40.36</c:v>
                </c:pt>
                <c:pt idx="9">
                  <c:v>39.15</c:v>
                </c:pt>
                <c:pt idx="10">
                  <c:v>42.08</c:v>
                </c:pt>
                <c:pt idx="11">
                  <c:v>41.87</c:v>
                </c:pt>
                <c:pt idx="12">
                  <c:v>42.05</c:v>
                </c:pt>
                <c:pt idx="13">
                  <c:v>39.52</c:v>
                </c:pt>
                <c:pt idx="14">
                  <c:v>39.4</c:v>
                </c:pt>
                <c:pt idx="15">
                  <c:v>41.24</c:v>
                </c:pt>
                <c:pt idx="16">
                  <c:v>41.08</c:v>
                </c:pt>
                <c:pt idx="17">
                  <c:v>41.95</c:v>
                </c:pt>
                <c:pt idx="18">
                  <c:v>38.23</c:v>
                </c:pt>
                <c:pt idx="19">
                  <c:v>41.1</c:v>
                </c:pt>
                <c:pt idx="20">
                  <c:v>41.87</c:v>
                </c:pt>
                <c:pt idx="21">
                  <c:v>41.3</c:v>
                </c:pt>
                <c:pt idx="22">
                  <c:v>40.19</c:v>
                </c:pt>
                <c:pt idx="23">
                  <c:v>38.57</c:v>
                </c:pt>
                <c:pt idx="24">
                  <c:v>38.9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61872074457197</c:v>
                </c:pt>
                <c:pt idx="2">
                  <c:v>1.117390176999604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8.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4.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68062618817215</c:v>
                </c:pt>
                <c:pt idx="2">
                  <c:v>1.11172421366166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20.0</c:v>
                </c:pt>
                <c:pt idx="2">
                  <c:v>11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70851953293932</c:v>
                </c:pt>
                <c:pt idx="2">
                  <c:v>1.15831050886550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4.0</c:v>
                </c:pt>
                <c:pt idx="2">
                  <c:v>8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583905818801</c:v>
                </c:pt>
                <c:pt idx="2">
                  <c:v>1.06638629557865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9.0</c:v>
                </c:pt>
                <c:pt idx="2">
                  <c:v>11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4.0</c:v>
                </c:pt>
                <c:pt idx="2">
                  <c:v>1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96534653465346</c:v>
                </c:pt>
                <c:pt idx="2">
                  <c:v>1.112406240624062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8.0</c:v>
                </c:pt>
                <c:pt idx="2">
                  <c:v>11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0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8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9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7052</c:v>
                </c:pt>
                <c:pt idx="1">
                  <c:v>30439</c:v>
                </c:pt>
                <c:pt idx="2">
                  <c:v>21061</c:v>
                </c:pt>
                <c:pt idx="3">
                  <c:v>17304</c:v>
                </c:pt>
                <c:pt idx="4">
                  <c:v>30214</c:v>
                </c:pt>
                <c:pt idx="5">
                  <c:v>27309</c:v>
                </c:pt>
                <c:pt idx="6">
                  <c:v>67190</c:v>
                </c:pt>
                <c:pt idx="7">
                  <c:v>51068</c:v>
                </c:pt>
                <c:pt idx="8">
                  <c:v>28068</c:v>
                </c:pt>
                <c:pt idx="9">
                  <c:v>34396</c:v>
                </c:pt>
                <c:pt idx="10">
                  <c:v>26611</c:v>
                </c:pt>
                <c:pt idx="11">
                  <c:v>21687</c:v>
                </c:pt>
                <c:pt idx="12">
                  <c:v>32681</c:v>
                </c:pt>
                <c:pt idx="13">
                  <c:v>35879</c:v>
                </c:pt>
                <c:pt idx="14">
                  <c:v>23506</c:v>
                </c:pt>
                <c:pt idx="15">
                  <c:v>20328</c:v>
                </c:pt>
                <c:pt idx="16">
                  <c:v>32003</c:v>
                </c:pt>
                <c:pt idx="17">
                  <c:v>33208</c:v>
                </c:pt>
                <c:pt idx="18">
                  <c:v>45378</c:v>
                </c:pt>
                <c:pt idx="19">
                  <c:v>35506</c:v>
                </c:pt>
                <c:pt idx="20">
                  <c:v>18489</c:v>
                </c:pt>
                <c:pt idx="21">
                  <c:v>22562</c:v>
                </c:pt>
                <c:pt idx="22">
                  <c:v>26557</c:v>
                </c:pt>
                <c:pt idx="23">
                  <c:v>27524</c:v>
                </c:pt>
                <c:pt idx="24">
                  <c:v>309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6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9.1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9.67</c:v>
                </c:pt>
                <c:pt idx="1">
                  <c:v>39.43</c:v>
                </c:pt>
                <c:pt idx="2">
                  <c:v>39.74</c:v>
                </c:pt>
                <c:pt idx="3">
                  <c:v>41.9</c:v>
                </c:pt>
                <c:pt idx="4">
                  <c:v>40.94</c:v>
                </c:pt>
                <c:pt idx="5">
                  <c:v>38.74</c:v>
                </c:pt>
                <c:pt idx="6">
                  <c:v>36.98</c:v>
                </c:pt>
                <c:pt idx="7">
                  <c:v>38.28</c:v>
                </c:pt>
                <c:pt idx="8">
                  <c:v>40.27</c:v>
                </c:pt>
                <c:pt idx="9">
                  <c:v>39.31</c:v>
                </c:pt>
                <c:pt idx="10">
                  <c:v>41.78</c:v>
                </c:pt>
                <c:pt idx="11">
                  <c:v>42.03</c:v>
                </c:pt>
                <c:pt idx="12">
                  <c:v>41.85</c:v>
                </c:pt>
                <c:pt idx="13">
                  <c:v>39.65</c:v>
                </c:pt>
                <c:pt idx="14">
                  <c:v>39.57</c:v>
                </c:pt>
                <c:pt idx="15">
                  <c:v>41.32</c:v>
                </c:pt>
                <c:pt idx="16">
                  <c:v>41.14</c:v>
                </c:pt>
                <c:pt idx="17">
                  <c:v>41.98</c:v>
                </c:pt>
                <c:pt idx="18">
                  <c:v>38.69</c:v>
                </c:pt>
                <c:pt idx="19">
                  <c:v>41.24</c:v>
                </c:pt>
                <c:pt idx="20">
                  <c:v>41.74</c:v>
                </c:pt>
                <c:pt idx="21">
                  <c:v>41.63</c:v>
                </c:pt>
                <c:pt idx="22">
                  <c:v>40.3</c:v>
                </c:pt>
                <c:pt idx="23">
                  <c:v>38.88</c:v>
                </c:pt>
                <c:pt idx="24">
                  <c:v>39.1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1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9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569394219718</c:v>
                </c:pt>
                <c:pt idx="2">
                  <c:v>1.11845793737560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rench Bloom Sa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e Chancen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62348.0</c:v>
                </c:pt>
                <c:pt idx="2">
                  <c:v>55672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rench Bloom Sa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0.0</c:v>
                </c:pt>
                <c:pt idx="2">
                  <c:v>9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66806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99197554179345</c:v>
                </c:pt>
                <c:pt idx="2">
                  <c:v>1.10775293790665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vet-Laduba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e Chancen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91.0</c:v>
                </c:pt>
                <c:pt idx="2">
                  <c:v>31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rench Bloom Sa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75.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thur Me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stheim</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Wolfber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ve Beblenheim</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1402191681298</c:v>
                </c:pt>
                <c:pt idx="2">
                  <c:v>1.047693285705636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thur Metz</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stheim</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Wolfber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ve Beblenheim</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792260351688112</c:v>
                </c:pt>
                <c:pt idx="2">
                  <c:v>1.02544849907711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783380828135049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37909224915156</c:v>
                </c:pt>
                <c:pt idx="2">
                  <c:v>1.01350656473895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79503273799321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9770677213433</c:v>
                </c:pt>
                <c:pt idx="2">
                  <c:v>1.01736400222037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5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215</c:v>
                </c:pt>
                <c:pt idx="1">
                  <c:v>4787</c:v>
                </c:pt>
                <c:pt idx="2">
                  <c:v>4831</c:v>
                </c:pt>
                <c:pt idx="3">
                  <c:v>2444</c:v>
                </c:pt>
                <c:pt idx="4">
                  <c:v>4055</c:v>
                </c:pt>
                <c:pt idx="5">
                  <c:v>3629</c:v>
                </c:pt>
                <c:pt idx="6">
                  <c:v>14184</c:v>
                </c:pt>
                <c:pt idx="7">
                  <c:v>7560</c:v>
                </c:pt>
                <c:pt idx="8">
                  <c:v>3610</c:v>
                </c:pt>
                <c:pt idx="9">
                  <c:v>5107</c:v>
                </c:pt>
                <c:pt idx="10">
                  <c:v>4319</c:v>
                </c:pt>
                <c:pt idx="11">
                  <c:v>4264</c:v>
                </c:pt>
                <c:pt idx="12">
                  <c:v>5305</c:v>
                </c:pt>
                <c:pt idx="13">
                  <c:v>5806</c:v>
                </c:pt>
                <c:pt idx="14">
                  <c:v>4613</c:v>
                </c:pt>
                <c:pt idx="15">
                  <c:v>2394</c:v>
                </c:pt>
                <c:pt idx="16">
                  <c:v>3829</c:v>
                </c:pt>
                <c:pt idx="17">
                  <c:v>3391</c:v>
                </c:pt>
                <c:pt idx="18">
                  <c:v>9014</c:v>
                </c:pt>
                <c:pt idx="19">
                  <c:v>5485</c:v>
                </c:pt>
                <c:pt idx="20">
                  <c:v>1942</c:v>
                </c:pt>
                <c:pt idx="21">
                  <c:v>2787</c:v>
                </c:pt>
                <c:pt idx="22">
                  <c:v>2953</c:v>
                </c:pt>
                <c:pt idx="23">
                  <c:v>5023</c:v>
                </c:pt>
                <c:pt idx="24">
                  <c:v>55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0.3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7.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0.36</c:v>
                </c:pt>
                <c:pt idx="1">
                  <c:v>38.6</c:v>
                </c:pt>
                <c:pt idx="2">
                  <c:v>39.93</c:v>
                </c:pt>
                <c:pt idx="3">
                  <c:v>40.73</c:v>
                </c:pt>
                <c:pt idx="4">
                  <c:v>40.55</c:v>
                </c:pt>
                <c:pt idx="5">
                  <c:v>38.2</c:v>
                </c:pt>
                <c:pt idx="6">
                  <c:v>37.23</c:v>
                </c:pt>
                <c:pt idx="7">
                  <c:v>37.99</c:v>
                </c:pt>
                <c:pt idx="8">
                  <c:v>40.56</c:v>
                </c:pt>
                <c:pt idx="9">
                  <c:v>39.28</c:v>
                </c:pt>
                <c:pt idx="10">
                  <c:v>42.34</c:v>
                </c:pt>
                <c:pt idx="11">
                  <c:v>42.22</c:v>
                </c:pt>
                <c:pt idx="12">
                  <c:v>41.45</c:v>
                </c:pt>
                <c:pt idx="13">
                  <c:v>39.77</c:v>
                </c:pt>
                <c:pt idx="14">
                  <c:v>40.46</c:v>
                </c:pt>
                <c:pt idx="15">
                  <c:v>42.75</c:v>
                </c:pt>
                <c:pt idx="16">
                  <c:v>42.08</c:v>
                </c:pt>
                <c:pt idx="17">
                  <c:v>42.39</c:v>
                </c:pt>
                <c:pt idx="18">
                  <c:v>38.52</c:v>
                </c:pt>
                <c:pt idx="19">
                  <c:v>42.19</c:v>
                </c:pt>
                <c:pt idx="20">
                  <c:v>42.22</c:v>
                </c:pt>
                <c:pt idx="21">
                  <c:v>40.99</c:v>
                </c:pt>
                <c:pt idx="22">
                  <c:v>39.91</c:v>
                </c:pt>
                <c:pt idx="23">
                  <c:v>38.05</c:v>
                </c:pt>
                <c:pt idx="24">
                  <c:v>37.7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85984819702304</c:v>
                </c:pt>
                <c:pt idx="2">
                  <c:v>1.010004812441427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798878785576184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74089634092653</c:v>
                </c:pt>
                <c:pt idx="2">
                  <c:v>0.95789990063018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766319920504144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5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784</c:v>
                </c:pt>
                <c:pt idx="1">
                  <c:v>2075</c:v>
                </c:pt>
                <c:pt idx="2">
                  <c:v>2035</c:v>
                </c:pt>
                <c:pt idx="3">
                  <c:v>850</c:v>
                </c:pt>
                <c:pt idx="4">
                  <c:v>2562</c:v>
                </c:pt>
                <c:pt idx="5">
                  <c:v>2769</c:v>
                </c:pt>
                <c:pt idx="6">
                  <c:v>9263</c:v>
                </c:pt>
                <c:pt idx="7">
                  <c:v>3222</c:v>
                </c:pt>
                <c:pt idx="8">
                  <c:v>2180</c:v>
                </c:pt>
                <c:pt idx="9">
                  <c:v>2765</c:v>
                </c:pt>
                <c:pt idx="10">
                  <c:v>1447</c:v>
                </c:pt>
                <c:pt idx="11">
                  <c:v>1520</c:v>
                </c:pt>
                <c:pt idx="12">
                  <c:v>5149</c:v>
                </c:pt>
                <c:pt idx="13">
                  <c:v>4045</c:v>
                </c:pt>
                <c:pt idx="14">
                  <c:v>2136</c:v>
                </c:pt>
                <c:pt idx="15">
                  <c:v>604</c:v>
                </c:pt>
                <c:pt idx="16">
                  <c:v>2310</c:v>
                </c:pt>
                <c:pt idx="17">
                  <c:v>1828</c:v>
                </c:pt>
                <c:pt idx="18">
                  <c:v>9274</c:v>
                </c:pt>
                <c:pt idx="19">
                  <c:v>2696</c:v>
                </c:pt>
                <c:pt idx="20">
                  <c:v>1876</c:v>
                </c:pt>
                <c:pt idx="21">
                  <c:v>967</c:v>
                </c:pt>
                <c:pt idx="22">
                  <c:v>1657</c:v>
                </c:pt>
                <c:pt idx="23">
                  <c:v>2006</c:v>
                </c:pt>
                <c:pt idx="24">
                  <c:v>35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5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8.5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9.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9.54</c:v>
                </c:pt>
                <c:pt idx="1">
                  <c:v>39.9</c:v>
                </c:pt>
                <c:pt idx="2">
                  <c:v>42.4</c:v>
                </c:pt>
                <c:pt idx="3">
                  <c:v>44.74</c:v>
                </c:pt>
                <c:pt idx="4">
                  <c:v>39.42</c:v>
                </c:pt>
                <c:pt idx="5">
                  <c:v>38.46</c:v>
                </c:pt>
                <c:pt idx="6">
                  <c:v>37.65</c:v>
                </c:pt>
                <c:pt idx="7">
                  <c:v>38.36</c:v>
                </c:pt>
                <c:pt idx="8">
                  <c:v>41.92</c:v>
                </c:pt>
                <c:pt idx="9">
                  <c:v>38.94</c:v>
                </c:pt>
                <c:pt idx="10">
                  <c:v>42.56</c:v>
                </c:pt>
                <c:pt idx="11">
                  <c:v>42.22</c:v>
                </c:pt>
                <c:pt idx="12">
                  <c:v>40.54</c:v>
                </c:pt>
                <c:pt idx="13">
                  <c:v>38.52</c:v>
                </c:pt>
                <c:pt idx="14">
                  <c:v>38.14</c:v>
                </c:pt>
                <c:pt idx="15">
                  <c:v>37.75</c:v>
                </c:pt>
                <c:pt idx="16">
                  <c:v>40.53</c:v>
                </c:pt>
                <c:pt idx="17">
                  <c:v>41.55</c:v>
                </c:pt>
                <c:pt idx="18">
                  <c:v>39.63</c:v>
                </c:pt>
                <c:pt idx="19">
                  <c:v>42.12</c:v>
                </c:pt>
                <c:pt idx="20">
                  <c:v>39.91</c:v>
                </c:pt>
                <c:pt idx="21">
                  <c:v>40.29</c:v>
                </c:pt>
                <c:pt idx="22">
                  <c:v>40.41</c:v>
                </c:pt>
                <c:pt idx="23">
                  <c:v>39.33</c:v>
                </c:pt>
                <c:pt idx="24">
                  <c:v>39.7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02823708027948</c:v>
                </c:pt>
                <c:pt idx="2">
                  <c:v>1.03175468702388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u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Jaillanc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7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ele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1.0</c:v>
                </c:pt>
                <c:pt idx="2">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ru La Maqueli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340.0</c:v>
                </c:pt>
                <c:pt idx="2">
                  <c:v>261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142.7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62996932249238</c:v>
                </c:pt>
                <c:pt idx="2">
                  <c:v>1.069856391410297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Jaillanc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3</c:f>
              <c:numCache>
                <c:formatCode>General</c:formatCode>
                <c:ptCount val="2"/>
                <c:pt idx="0">
                  <c:v>100.0</c:v>
                </c:pt>
                <c:pt idx="1">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ele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8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ru La Maquelin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5.0</c:v>
                </c:pt>
                <c:pt idx="2">
                  <c:v>11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esa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illanc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0.0</c:v>
                </c:pt>
                <c:pt idx="2">
                  <c:v>8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allarin Jean Lou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1.0</c:v>
                </c:pt>
                <c:pt idx="2">
                  <c:v>12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ieur Gail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1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75751882169</c:v>
                </c:pt>
                <c:pt idx="2">
                  <c:v>0.98935736903651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esa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illanc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allarin Jean Loui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ieur Gail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0.79148589522921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6.0</c:v>
                </c:pt>
                <c:pt idx="2">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957.0</c:v>
                </c:pt>
                <c:pt idx="2">
                  <c:v>652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7833.5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5308824554205</c:v>
                </c:pt>
                <c:pt idx="2">
                  <c:v>1.076538315615055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8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4.0</c:v>
                </c:pt>
                <c:pt idx="2">
                  <c:v>12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4.0</c:v>
                </c:pt>
                <c:pt idx="2">
                  <c:v>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610.0</c:v>
                </c:pt>
                <c:pt idx="2">
                  <c:v>180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64.7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659619710931</c:v>
                </c:pt>
                <c:pt idx="2">
                  <c:v>0.96601590187679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6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772812721501433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2.0</c:v>
                </c:pt>
                <c:pt idx="2">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946.0</c:v>
                </c:pt>
                <c:pt idx="2">
                  <c:v>219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632.7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18365207668476</c:v>
                </c:pt>
                <c:pt idx="2">
                  <c:v>1.101299044158183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8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11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1.0</c:v>
                </c:pt>
                <c:pt idx="2">
                  <c:v>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06.0</c:v>
                </c:pt>
                <c:pt idx="2">
                  <c:v>34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8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113237567733898</c:v>
                </c:pt>
                <c:pt idx="2">
                  <c:v>1.151964095405352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7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30.0</c:v>
                </c:pt>
                <c:pt idx="2">
                  <c:v>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26.0</c:v>
                </c:pt>
                <c:pt idx="2">
                  <c:v>1542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50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78225386629932</c:v>
                </c:pt>
                <c:pt idx="2">
                  <c:v>1.09988707442676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9.0</c:v>
                </c:pt>
                <c:pt idx="2">
                  <c:v>12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4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7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1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448</c:v>
                </c:pt>
                <c:pt idx="1">
                  <c:v>4381</c:v>
                </c:pt>
                <c:pt idx="2">
                  <c:v>3772</c:v>
                </c:pt>
                <c:pt idx="3">
                  <c:v>2030</c:v>
                </c:pt>
                <c:pt idx="4">
                  <c:v>2519</c:v>
                </c:pt>
                <c:pt idx="5">
                  <c:v>4055</c:v>
                </c:pt>
                <c:pt idx="6">
                  <c:v>14805</c:v>
                </c:pt>
                <c:pt idx="7">
                  <c:v>5479</c:v>
                </c:pt>
                <c:pt idx="8">
                  <c:v>3510</c:v>
                </c:pt>
                <c:pt idx="9">
                  <c:v>5243</c:v>
                </c:pt>
                <c:pt idx="10">
                  <c:v>3497</c:v>
                </c:pt>
                <c:pt idx="11">
                  <c:v>3627</c:v>
                </c:pt>
                <c:pt idx="12">
                  <c:v>4443</c:v>
                </c:pt>
                <c:pt idx="13">
                  <c:v>5703</c:v>
                </c:pt>
                <c:pt idx="14">
                  <c:v>4802</c:v>
                </c:pt>
                <c:pt idx="15">
                  <c:v>2321</c:v>
                </c:pt>
                <c:pt idx="16">
                  <c:v>4411</c:v>
                </c:pt>
                <c:pt idx="17">
                  <c:v>3206</c:v>
                </c:pt>
                <c:pt idx="18">
                  <c:v>9475</c:v>
                </c:pt>
                <c:pt idx="19">
                  <c:v>4044</c:v>
                </c:pt>
                <c:pt idx="20">
                  <c:v>2466</c:v>
                </c:pt>
                <c:pt idx="21">
                  <c:v>2715</c:v>
                </c:pt>
                <c:pt idx="22">
                  <c:v>5602</c:v>
                </c:pt>
                <c:pt idx="23">
                  <c:v>3757</c:v>
                </c:pt>
                <c:pt idx="24">
                  <c:v>41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8.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8.61</c:v>
                </c:pt>
                <c:pt idx="1">
                  <c:v>38.77</c:v>
                </c:pt>
                <c:pt idx="2">
                  <c:v>38.49</c:v>
                </c:pt>
                <c:pt idx="3">
                  <c:v>41.43</c:v>
                </c:pt>
                <c:pt idx="4">
                  <c:v>40.63</c:v>
                </c:pt>
                <c:pt idx="5">
                  <c:v>38.62</c:v>
                </c:pt>
                <c:pt idx="6">
                  <c:v>37.01</c:v>
                </c:pt>
                <c:pt idx="7">
                  <c:v>38.05</c:v>
                </c:pt>
                <c:pt idx="8">
                  <c:v>40.81</c:v>
                </c:pt>
                <c:pt idx="9">
                  <c:v>38.84</c:v>
                </c:pt>
                <c:pt idx="10">
                  <c:v>42.13</c:v>
                </c:pt>
                <c:pt idx="11">
                  <c:v>41.22</c:v>
                </c:pt>
                <c:pt idx="12">
                  <c:v>42.72</c:v>
                </c:pt>
                <c:pt idx="13">
                  <c:v>39.06</c:v>
                </c:pt>
                <c:pt idx="14">
                  <c:v>40.02</c:v>
                </c:pt>
                <c:pt idx="15">
                  <c:v>41.45</c:v>
                </c:pt>
                <c:pt idx="16">
                  <c:v>40.1</c:v>
                </c:pt>
                <c:pt idx="17">
                  <c:v>41.64</c:v>
                </c:pt>
                <c:pt idx="18">
                  <c:v>38.36</c:v>
                </c:pt>
                <c:pt idx="19">
                  <c:v>40.44</c:v>
                </c:pt>
                <c:pt idx="20">
                  <c:v>41.1</c:v>
                </c:pt>
                <c:pt idx="21">
                  <c:v>41.14</c:v>
                </c:pt>
                <c:pt idx="22">
                  <c:v>39.73</c:v>
                </c:pt>
                <c:pt idx="23">
                  <c:v>37.57</c:v>
                </c:pt>
                <c:pt idx="24">
                  <c:v>38.2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1.0</c:v>
                </c:pt>
                <c:pt idx="2">
                  <c:v>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912.0</c:v>
                </c:pt>
                <c:pt idx="2">
                  <c:v>83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007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70580130646913</c:v>
                </c:pt>
                <c:pt idx="2">
                  <c:v>1.01983207170991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6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9.0</c:v>
                </c:pt>
                <c:pt idx="2">
                  <c:v>14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1.6"/>
          <c:min val="0.797646410451753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9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0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947</c:v>
                </c:pt>
                <c:pt idx="1">
                  <c:v>6634</c:v>
                </c:pt>
                <c:pt idx="2">
                  <c:v>5415</c:v>
                </c:pt>
                <c:pt idx="3">
                  <c:v>2545</c:v>
                </c:pt>
                <c:pt idx="4">
                  <c:v>5277</c:v>
                </c:pt>
                <c:pt idx="5">
                  <c:v>5497</c:v>
                </c:pt>
                <c:pt idx="6">
                  <c:v>17877</c:v>
                </c:pt>
                <c:pt idx="7">
                  <c:v>8926</c:v>
                </c:pt>
                <c:pt idx="8">
                  <c:v>4950</c:v>
                </c:pt>
                <c:pt idx="9">
                  <c:v>5278</c:v>
                </c:pt>
                <c:pt idx="10">
                  <c:v>5170</c:v>
                </c:pt>
                <c:pt idx="11">
                  <c:v>5016</c:v>
                </c:pt>
                <c:pt idx="12">
                  <c:v>5139</c:v>
                </c:pt>
                <c:pt idx="13">
                  <c:v>8009</c:v>
                </c:pt>
                <c:pt idx="14">
                  <c:v>6467</c:v>
                </c:pt>
                <c:pt idx="15">
                  <c:v>1822</c:v>
                </c:pt>
                <c:pt idx="16">
                  <c:v>6908</c:v>
                </c:pt>
                <c:pt idx="17">
                  <c:v>5432</c:v>
                </c:pt>
                <c:pt idx="18">
                  <c:v>12977</c:v>
                </c:pt>
                <c:pt idx="19">
                  <c:v>6504</c:v>
                </c:pt>
                <c:pt idx="20">
                  <c:v>3061</c:v>
                </c:pt>
                <c:pt idx="21">
                  <c:v>3849</c:v>
                </c:pt>
                <c:pt idx="22">
                  <c:v>5846</c:v>
                </c:pt>
                <c:pt idx="23">
                  <c:v>4731</c:v>
                </c:pt>
                <c:pt idx="24">
                  <c:v>701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4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4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9.1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9.47</c:v>
                </c:pt>
                <c:pt idx="1">
                  <c:v>39.02</c:v>
                </c:pt>
                <c:pt idx="2">
                  <c:v>38.4</c:v>
                </c:pt>
                <c:pt idx="3">
                  <c:v>40.4</c:v>
                </c:pt>
                <c:pt idx="4">
                  <c:v>39.98</c:v>
                </c:pt>
                <c:pt idx="5">
                  <c:v>38.71</c:v>
                </c:pt>
                <c:pt idx="6">
                  <c:v>36.86</c:v>
                </c:pt>
                <c:pt idx="7">
                  <c:v>38.64</c:v>
                </c:pt>
                <c:pt idx="8">
                  <c:v>40.24</c:v>
                </c:pt>
                <c:pt idx="9">
                  <c:v>39.1</c:v>
                </c:pt>
                <c:pt idx="10">
                  <c:v>42.38</c:v>
                </c:pt>
                <c:pt idx="11">
                  <c:v>41.8</c:v>
                </c:pt>
                <c:pt idx="12">
                  <c:v>40.79</c:v>
                </c:pt>
                <c:pt idx="13">
                  <c:v>39.45</c:v>
                </c:pt>
                <c:pt idx="14">
                  <c:v>38.96</c:v>
                </c:pt>
                <c:pt idx="15">
                  <c:v>41.41</c:v>
                </c:pt>
                <c:pt idx="16">
                  <c:v>40.64</c:v>
                </c:pt>
                <c:pt idx="17">
                  <c:v>41.47</c:v>
                </c:pt>
                <c:pt idx="18">
                  <c:v>37.72</c:v>
                </c:pt>
                <c:pt idx="19">
                  <c:v>41.16</c:v>
                </c:pt>
                <c:pt idx="20">
                  <c:v>41.36</c:v>
                </c:pt>
                <c:pt idx="21">
                  <c:v>40.95</c:v>
                </c:pt>
                <c:pt idx="22">
                  <c:v>39.5</c:v>
                </c:pt>
                <c:pt idx="23">
                  <c:v>38.15</c:v>
                </c:pt>
                <c:pt idx="24">
                  <c:v>39.1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5.0</c:v>
                </c:pt>
                <c:pt idx="2">
                  <c:v>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2545.0</c:v>
                </c:pt>
                <c:pt idx="2">
                  <c:v>293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51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8075365339523</c:v>
                </c:pt>
                <c:pt idx="2">
                  <c:v>1.07414161988899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elen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6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ru La Maquelin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2.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47.322237</c:v>
                </c:pt>
                <c:pt idx="1">
                  <c:v>47.475834</c:v>
                </c:pt>
                <c:pt idx="2">
                  <c:v>48.860505</c:v>
                </c:pt>
                <c:pt idx="3">
                  <c:v>49.347147</c:v>
                </c:pt>
                <c:pt idx="4">
                  <c:v>62.113782</c:v>
                </c:pt>
                <c:pt idx="5">
                  <c:v>51.769073</c:v>
                </c:pt>
                <c:pt idx="6">
                  <c:v>44.956882</c:v>
                </c:pt>
                <c:pt idx="7">
                  <c:v>48.410762</c:v>
                </c:pt>
                <c:pt idx="8">
                  <c:v>46.329796</c:v>
                </c:pt>
                <c:pt idx="9">
                  <c:v>48.818928</c:v>
                </c:pt>
                <c:pt idx="10">
                  <c:v>47.653635</c:v>
                </c:pt>
                <c:pt idx="11">
                  <c:v>47.760085</c:v>
                </c:pt>
                <c:pt idx="12">
                  <c:v>45.888838</c:v>
                </c:pt>
                <c:pt idx="13">
                  <c:v>45.876323</c:v>
                </c:pt>
                <c:pt idx="14">
                  <c:v>47.935869</c:v>
                </c:pt>
                <c:pt idx="15">
                  <c:v>47.074698</c:v>
                </c:pt>
                <c:pt idx="16">
                  <c:v>57.928779</c:v>
                </c:pt>
                <c:pt idx="17">
                  <c:v>47.238116</c:v>
                </c:pt>
                <c:pt idx="18">
                  <c:v>42.128111</c:v>
                </c:pt>
                <c:pt idx="19">
                  <c:v>46.611051</c:v>
                </c:pt>
                <c:pt idx="20">
                  <c:v>45.204199</c:v>
                </c:pt>
                <c:pt idx="21">
                  <c:v>47.303623</c:v>
                </c:pt>
                <c:pt idx="22">
                  <c:v>46.193091</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48.843102</c:v>
                </c:pt>
                <c:pt idx="1">
                  <c:v>47.345788</c:v>
                </c:pt>
                <c:pt idx="2">
                  <c:v>48.910364</c:v>
                </c:pt>
                <c:pt idx="3">
                  <c:v>47.374702</c:v>
                </c:pt>
                <c:pt idx="4">
                  <c:v>49.286458</c:v>
                </c:pt>
                <c:pt idx="5">
                  <c:v>49.032055</c:v>
                </c:pt>
                <c:pt idx="6">
                  <c:v>45.73531</c:v>
                </c:pt>
                <c:pt idx="7">
                  <c:v>48.931033</c:v>
                </c:pt>
                <c:pt idx="8">
                  <c:v>47.315803</c:v>
                </c:pt>
                <c:pt idx="9">
                  <c:v>48.937097</c:v>
                </c:pt>
                <c:pt idx="10">
                  <c:v>47.405066</c:v>
                </c:pt>
                <c:pt idx="11">
                  <c:v>48.825288</c:v>
                </c:pt>
                <c:pt idx="12">
                  <c:v>48.654555</c:v>
                </c:pt>
                <c:pt idx="13">
                  <c:v>47.176969</c:v>
                </c:pt>
                <c:pt idx="14">
                  <c:v>48.762364</c:v>
                </c:pt>
                <c:pt idx="15">
                  <c:v>47.208979</c:v>
                </c:pt>
                <c:pt idx="16">
                  <c:v>48.993483</c:v>
                </c:pt>
                <c:pt idx="17">
                  <c:v>48.714992</c:v>
                </c:pt>
                <c:pt idx="18">
                  <c:v>43.978574</c:v>
                </c:pt>
                <c:pt idx="19">
                  <c:v>48.707508</c:v>
                </c:pt>
                <c:pt idx="20">
                  <c:v>47.164448</c:v>
                </c:pt>
                <c:pt idx="21">
                  <c:v>48.75343</c:v>
                </c:pt>
                <c:pt idx="22">
                  <c:v>47.20381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D$2:$D$24</c:f>
              <c:numCache>
                <c:formatCode>General</c:formatCode>
                <c:ptCount val="23"/>
                <c:pt idx="0">
                  <c:v>1.773785</c:v>
                </c:pt>
                <c:pt idx="1">
                  <c:v>1.723371</c:v>
                </c:pt>
                <c:pt idx="2">
                  <c:v>1.776007</c:v>
                </c:pt>
                <c:pt idx="3">
                  <c:v>1.721099</c:v>
                </c:pt>
                <c:pt idx="4">
                  <c:v>1.826012</c:v>
                </c:pt>
                <c:pt idx="5">
                  <c:v>1.822534</c:v>
                </c:pt>
                <c:pt idx="6">
                  <c:v>1.680839</c:v>
                </c:pt>
                <c:pt idx="7">
                  <c:v>1.800691</c:v>
                </c:pt>
                <c:pt idx="8">
                  <c:v>1.738498</c:v>
                </c:pt>
                <c:pt idx="9">
                  <c:v>1.799842</c:v>
                </c:pt>
                <c:pt idx="10">
                  <c:v>1.745797</c:v>
                </c:pt>
                <c:pt idx="11">
                  <c:v>1.914312</c:v>
                </c:pt>
                <c:pt idx="12">
                  <c:v>1.99962</c:v>
                </c:pt>
                <c:pt idx="13">
                  <c:v>1.947587</c:v>
                </c:pt>
                <c:pt idx="14">
                  <c:v>2.010929</c:v>
                </c:pt>
                <c:pt idx="15">
                  <c:v>1.952086</c:v>
                </c:pt>
                <c:pt idx="16">
                  <c:v>2.09522</c:v>
                </c:pt>
                <c:pt idx="17">
                  <c:v>2.061867</c:v>
                </c:pt>
                <c:pt idx="18">
                  <c:v>1.842526</c:v>
                </c:pt>
                <c:pt idx="19">
                  <c:v>2.033386</c:v>
                </c:pt>
                <c:pt idx="20">
                  <c:v>1.969614</c:v>
                </c:pt>
                <c:pt idx="21">
                  <c:v>2.035533</c:v>
                </c:pt>
                <c:pt idx="22">
                  <c:v>1.97850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E$2:$E$24</c:f>
              <c:numCache>
                <c:formatCode>General</c:formatCode>
                <c:ptCount val="23"/>
                <c:pt idx="0">
                  <c:v>97.939124</c:v>
                </c:pt>
                <c:pt idx="1">
                  <c:v>96.544993</c:v>
                </c:pt>
                <c:pt idx="2">
                  <c:v>99.546876</c:v>
                </c:pt>
                <c:pt idx="3">
                  <c:v>98.442948</c:v>
                </c:pt>
                <c:pt idx="4">
                  <c:v>113.226252</c:v>
                </c:pt>
                <c:pt idx="5">
                  <c:v>102.623662</c:v>
                </c:pt>
                <c:pt idx="6">
                  <c:v>92.373031</c:v>
                </c:pt>
                <c:pt idx="7">
                  <c:v>99.142486</c:v>
                </c:pt>
                <c:pt idx="8">
                  <c:v>95.384097</c:v>
                </c:pt>
                <c:pt idx="9">
                  <c:v>99.555867</c:v>
                </c:pt>
                <c:pt idx="10">
                  <c:v>96.804498</c:v>
                </c:pt>
                <c:pt idx="11">
                  <c:v>98.499685</c:v>
                </c:pt>
                <c:pt idx="12">
                  <c:v>96.543013</c:v>
                </c:pt>
                <c:pt idx="13">
                  <c:v>95.000879</c:v>
                </c:pt>
                <c:pt idx="14">
                  <c:v>98.709162</c:v>
                </c:pt>
                <c:pt idx="15">
                  <c:v>96.235763</c:v>
                </c:pt>
                <c:pt idx="16">
                  <c:v>109.017482</c:v>
                </c:pt>
                <c:pt idx="17">
                  <c:v>98.014975</c:v>
                </c:pt>
                <c:pt idx="18">
                  <c:v>87.949211</c:v>
                </c:pt>
                <c:pt idx="19">
                  <c:v>97.351945</c:v>
                </c:pt>
                <c:pt idx="20">
                  <c:v>94.338261</c:v>
                </c:pt>
                <c:pt idx="21">
                  <c:v>98.092586</c:v>
                </c:pt>
                <c:pt idx="22">
                  <c:v>95.375416</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6.294331</c:v>
                </c:pt>
                <c:pt idx="1">
                  <c:v>4.654903</c:v>
                </c:pt>
                <c:pt idx="2">
                  <c:v>5.004171</c:v>
                </c:pt>
                <c:pt idx="3">
                  <c:v>4.644316</c:v>
                </c:pt>
                <c:pt idx="4">
                  <c:v>4.994924</c:v>
                </c:pt>
                <c:pt idx="5">
                  <c:v>5.960756</c:v>
                </c:pt>
                <c:pt idx="6">
                  <c:v>5.012518</c:v>
                </c:pt>
                <c:pt idx="7">
                  <c:v>3.383</c:v>
                </c:pt>
                <c:pt idx="8">
                  <c:v>4.958022</c:v>
                </c:pt>
                <c:pt idx="9">
                  <c:v>4.929357</c:v>
                </c:pt>
                <c:pt idx="10">
                  <c:v>6.832728</c:v>
                </c:pt>
                <c:pt idx="11">
                  <c:v>18.194817</c:v>
                </c:pt>
                <c:pt idx="12">
                  <c:v>7.853245</c:v>
                </c:pt>
                <c:pt idx="13">
                  <c:v>3.858564</c:v>
                </c:pt>
                <c:pt idx="14">
                  <c:v>4.472667</c:v>
                </c:pt>
                <c:pt idx="15">
                  <c:v>3.808528</c:v>
                </c:pt>
                <c:pt idx="16">
                  <c:v>4.884783</c:v>
                </c:pt>
                <c:pt idx="17">
                  <c:v>5.138901</c:v>
                </c:pt>
                <c:pt idx="18">
                  <c:v>4.453999</c:v>
                </c:pt>
                <c:pt idx="19">
                  <c:v>3.099647</c:v>
                </c:pt>
                <c:pt idx="20">
                  <c:v>4.469652</c:v>
                </c:pt>
                <c:pt idx="21">
                  <c:v>5.15961</c:v>
                </c:pt>
                <c:pt idx="22">
                  <c:v>5.673517</c:v>
                </c:pt>
                <c:pt idx="23">
                  <c:v>15.161271</c:v>
                </c:pt>
                <c:pt idx="24">
                  <c:v>4.466043</c:v>
                </c:pt>
                <c:pt idx="25">
                  <c:v>3.48557</c:v>
                </c:pt>
                <c:pt idx="26">
                  <c:v>3.829087</c:v>
                </c:pt>
                <c:pt idx="27">
                  <c:v>3.799315</c:v>
                </c:pt>
                <c:pt idx="28">
                  <c:v>4.516885</c:v>
                </c:pt>
                <c:pt idx="29">
                  <c:v>4.7870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354105</c:v>
                </c:pt>
                <c:pt idx="1">
                  <c:v>0.309229</c:v>
                </c:pt>
                <c:pt idx="2">
                  <c:v>0.338394</c:v>
                </c:pt>
                <c:pt idx="3">
                  <c:v>0.36599</c:v>
                </c:pt>
                <c:pt idx="4">
                  <c:v>0.405131</c:v>
                </c:pt>
                <c:pt idx="5">
                  <c:v>0.465242</c:v>
                </c:pt>
                <c:pt idx="6">
                  <c:v>0.369766</c:v>
                </c:pt>
                <c:pt idx="7">
                  <c:v>0.28719</c:v>
                </c:pt>
                <c:pt idx="8">
                  <c:v>0.356216</c:v>
                </c:pt>
                <c:pt idx="9">
                  <c:v>0.354528</c:v>
                </c:pt>
                <c:pt idx="10">
                  <c:v>0.385562</c:v>
                </c:pt>
                <c:pt idx="11">
                  <c:v>0.730944</c:v>
                </c:pt>
                <c:pt idx="12">
                  <c:v>0.47641</c:v>
                </c:pt>
                <c:pt idx="13">
                  <c:v>0.312309</c:v>
                </c:pt>
                <c:pt idx="14">
                  <c:v>0.37559</c:v>
                </c:pt>
                <c:pt idx="15">
                  <c:v>0.326524</c:v>
                </c:pt>
                <c:pt idx="16">
                  <c:v>0.38176</c:v>
                </c:pt>
                <c:pt idx="17">
                  <c:v>0.416774</c:v>
                </c:pt>
                <c:pt idx="18">
                  <c:v>0.362023</c:v>
                </c:pt>
                <c:pt idx="19">
                  <c:v>0.267332</c:v>
                </c:pt>
                <c:pt idx="20">
                  <c:v>0.350631</c:v>
                </c:pt>
                <c:pt idx="21">
                  <c:v>0.375739</c:v>
                </c:pt>
                <c:pt idx="22">
                  <c:v>0.382533</c:v>
                </c:pt>
                <c:pt idx="23">
                  <c:v>0.606663</c:v>
                </c:pt>
                <c:pt idx="24">
                  <c:v>0.327553</c:v>
                </c:pt>
                <c:pt idx="25">
                  <c:v>0.272919</c:v>
                </c:pt>
                <c:pt idx="26">
                  <c:v>0.320245</c:v>
                </c:pt>
                <c:pt idx="27">
                  <c:v>0.338108</c:v>
                </c:pt>
                <c:pt idx="28">
                  <c:v>0.3659</c:v>
                </c:pt>
                <c:pt idx="29">
                  <c:v>0.37739</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5514</c:v>
                </c:pt>
                <c:pt idx="1">
                  <c:v>0.005175</c:v>
                </c:pt>
                <c:pt idx="2">
                  <c:v>0.007619</c:v>
                </c:pt>
                <c:pt idx="3">
                  <c:v>0.007771</c:v>
                </c:pt>
                <c:pt idx="4">
                  <c:v>0.010895</c:v>
                </c:pt>
                <c:pt idx="5">
                  <c:v>0.013879</c:v>
                </c:pt>
                <c:pt idx="6">
                  <c:v>0.011502</c:v>
                </c:pt>
                <c:pt idx="7">
                  <c:v>0.009496</c:v>
                </c:pt>
                <c:pt idx="8">
                  <c:v>0.016072</c:v>
                </c:pt>
                <c:pt idx="9">
                  <c:v>0.011736</c:v>
                </c:pt>
                <c:pt idx="10">
                  <c:v>0.013707</c:v>
                </c:pt>
                <c:pt idx="11">
                  <c:v>0.061716</c:v>
                </c:pt>
                <c:pt idx="12">
                  <c:v>0.05833</c:v>
                </c:pt>
                <c:pt idx="13">
                  <c:v>0.030428</c:v>
                </c:pt>
                <c:pt idx="14">
                  <c:v>0.036465</c:v>
                </c:pt>
                <c:pt idx="15">
                  <c:v>0.031299</c:v>
                </c:pt>
                <c:pt idx="16">
                  <c:v>0.035664</c:v>
                </c:pt>
                <c:pt idx="17">
                  <c:v>0.038557</c:v>
                </c:pt>
                <c:pt idx="18">
                  <c:v>0.034498</c:v>
                </c:pt>
                <c:pt idx="19">
                  <c:v>0.024531</c:v>
                </c:pt>
                <c:pt idx="20">
                  <c:v>0.036229</c:v>
                </c:pt>
                <c:pt idx="21">
                  <c:v>0.035844</c:v>
                </c:pt>
                <c:pt idx="22">
                  <c:v>0.040727</c:v>
                </c:pt>
                <c:pt idx="23">
                  <c:v>0.120283</c:v>
                </c:pt>
                <c:pt idx="24">
                  <c:v>0.086826</c:v>
                </c:pt>
                <c:pt idx="25">
                  <c:v>0.058592</c:v>
                </c:pt>
                <c:pt idx="26">
                  <c:v>0.058359</c:v>
                </c:pt>
                <c:pt idx="27">
                  <c:v>0.058294</c:v>
                </c:pt>
                <c:pt idx="28">
                  <c:v>0.060507</c:v>
                </c:pt>
                <c:pt idx="29">
                  <c:v>0.06720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6.65395</c:v>
                </c:pt>
                <c:pt idx="1">
                  <c:v>4.969307</c:v>
                </c:pt>
                <c:pt idx="2">
                  <c:v>5.350184</c:v>
                </c:pt>
                <c:pt idx="3">
                  <c:v>5.018077</c:v>
                </c:pt>
                <c:pt idx="4">
                  <c:v>5.41095</c:v>
                </c:pt>
                <c:pt idx="5">
                  <c:v>6.439877</c:v>
                </c:pt>
                <c:pt idx="6">
                  <c:v>5.393786</c:v>
                </c:pt>
                <c:pt idx="7">
                  <c:v>3.679686</c:v>
                </c:pt>
                <c:pt idx="8">
                  <c:v>5.33031</c:v>
                </c:pt>
                <c:pt idx="9">
                  <c:v>5.295621</c:v>
                </c:pt>
                <c:pt idx="10">
                  <c:v>7.231997</c:v>
                </c:pt>
                <c:pt idx="11">
                  <c:v>18.987477</c:v>
                </c:pt>
                <c:pt idx="12">
                  <c:v>8.387985</c:v>
                </c:pt>
                <c:pt idx="13">
                  <c:v>4.201301</c:v>
                </c:pt>
                <c:pt idx="14">
                  <c:v>4.884722</c:v>
                </c:pt>
                <c:pt idx="15">
                  <c:v>4.166351</c:v>
                </c:pt>
                <c:pt idx="16">
                  <c:v>5.302207</c:v>
                </c:pt>
                <c:pt idx="17">
                  <c:v>5.594232</c:v>
                </c:pt>
                <c:pt idx="18">
                  <c:v>4.85052</c:v>
                </c:pt>
                <c:pt idx="19">
                  <c:v>3.39151</c:v>
                </c:pt>
                <c:pt idx="20">
                  <c:v>4.856512</c:v>
                </c:pt>
                <c:pt idx="21">
                  <c:v>5.571193</c:v>
                </c:pt>
                <c:pt idx="22">
                  <c:v>6.096777</c:v>
                </c:pt>
                <c:pt idx="23">
                  <c:v>15.888217</c:v>
                </c:pt>
                <c:pt idx="24">
                  <c:v>4.880422</c:v>
                </c:pt>
                <c:pt idx="25">
                  <c:v>3.817081</c:v>
                </c:pt>
                <c:pt idx="26">
                  <c:v>4.207691</c:v>
                </c:pt>
                <c:pt idx="27">
                  <c:v>4.195717</c:v>
                </c:pt>
                <c:pt idx="28">
                  <c:v>4.943292</c:v>
                </c:pt>
                <c:pt idx="29">
                  <c:v>5.231655</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2.907949</c:v>
                </c:pt>
                <c:pt idx="1">
                  <c:v>2.108701</c:v>
                </c:pt>
                <c:pt idx="2">
                  <c:v>2.279368</c:v>
                </c:pt>
                <c:pt idx="3">
                  <c:v>2.055656</c:v>
                </c:pt>
                <c:pt idx="4">
                  <c:v>2.183958</c:v>
                </c:pt>
                <c:pt idx="5">
                  <c:v>2.636009</c:v>
                </c:pt>
                <c:pt idx="6">
                  <c:v>2.011628</c:v>
                </c:pt>
                <c:pt idx="7">
                  <c:v>1.177215</c:v>
                </c:pt>
                <c:pt idx="8">
                  <c:v>2.149628</c:v>
                </c:pt>
                <c:pt idx="9">
                  <c:v>2.188655</c:v>
                </c:pt>
                <c:pt idx="10">
                  <c:v>2.946328</c:v>
                </c:pt>
                <c:pt idx="11">
                  <c:v>7.672376</c:v>
                </c:pt>
                <c:pt idx="12">
                  <c:v>3.61133</c:v>
                </c:pt>
                <c:pt idx="13">
                  <c:v>1.778643</c:v>
                </c:pt>
                <c:pt idx="14">
                  <c:v>2.028965</c:v>
                </c:pt>
                <c:pt idx="15">
                  <c:v>1.72016</c:v>
                </c:pt>
                <c:pt idx="16">
                  <c:v>2.153125</c:v>
                </c:pt>
                <c:pt idx="17">
                  <c:v>2.261488</c:v>
                </c:pt>
                <c:pt idx="18">
                  <c:v>1.760565</c:v>
                </c:pt>
                <c:pt idx="19">
                  <c:v>1.102904</c:v>
                </c:pt>
                <c:pt idx="20">
                  <c:v>1.954049</c:v>
                </c:pt>
                <c:pt idx="21">
                  <c:v>2.380063</c:v>
                </c:pt>
                <c:pt idx="22">
                  <c:v>2.522547</c:v>
                </c:pt>
                <c:pt idx="23">
                  <c:v>6.26895</c:v>
                </c:pt>
                <c:pt idx="24">
                  <c:v>2.028121</c:v>
                </c:pt>
                <c:pt idx="25">
                  <c:v>1.602056</c:v>
                </c:pt>
                <c:pt idx="26">
                  <c:v>1.747289</c:v>
                </c:pt>
                <c:pt idx="27">
                  <c:v>1.711123</c:v>
                </c:pt>
                <c:pt idx="28">
                  <c:v>1.959122</c:v>
                </c:pt>
                <c:pt idx="29">
                  <c:v>2.04984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171458</c:v>
                </c:pt>
                <c:pt idx="1">
                  <c:v>0.147775</c:v>
                </c:pt>
                <c:pt idx="2">
                  <c:v>0.165416</c:v>
                </c:pt>
                <c:pt idx="3">
                  <c:v>0.169069</c:v>
                </c:pt>
                <c:pt idx="4">
                  <c:v>0.184849</c:v>
                </c:pt>
                <c:pt idx="5">
                  <c:v>0.216268</c:v>
                </c:pt>
                <c:pt idx="6">
                  <c:v>0.160656</c:v>
                </c:pt>
                <c:pt idx="7">
                  <c:v>0.114467</c:v>
                </c:pt>
                <c:pt idx="8">
                  <c:v>0.170805</c:v>
                </c:pt>
                <c:pt idx="9">
                  <c:v>0.174564</c:v>
                </c:pt>
                <c:pt idx="10">
                  <c:v>0.182959</c:v>
                </c:pt>
                <c:pt idx="11">
                  <c:v>0.33521</c:v>
                </c:pt>
                <c:pt idx="12">
                  <c:v>0.237929</c:v>
                </c:pt>
                <c:pt idx="13">
                  <c:v>0.154147</c:v>
                </c:pt>
                <c:pt idx="14">
                  <c:v>0.180324</c:v>
                </c:pt>
                <c:pt idx="15">
                  <c:v>0.154671</c:v>
                </c:pt>
                <c:pt idx="16">
                  <c:v>0.175689</c:v>
                </c:pt>
                <c:pt idx="17">
                  <c:v>0.197739</c:v>
                </c:pt>
                <c:pt idx="18">
                  <c:v>0.157945</c:v>
                </c:pt>
                <c:pt idx="19">
                  <c:v>0.102328</c:v>
                </c:pt>
                <c:pt idx="20">
                  <c:v>0.162474</c:v>
                </c:pt>
                <c:pt idx="21">
                  <c:v>0.178543</c:v>
                </c:pt>
                <c:pt idx="22">
                  <c:v>0.185027</c:v>
                </c:pt>
                <c:pt idx="23">
                  <c:v>0.279681</c:v>
                </c:pt>
                <c:pt idx="24">
                  <c:v>0.1665</c:v>
                </c:pt>
                <c:pt idx="25">
                  <c:v>0.138572</c:v>
                </c:pt>
                <c:pt idx="26">
                  <c:v>0.158078</c:v>
                </c:pt>
                <c:pt idx="27">
                  <c:v>0.166183</c:v>
                </c:pt>
                <c:pt idx="28">
                  <c:v>0.174516</c:v>
                </c:pt>
                <c:pt idx="29">
                  <c:v>0.186207</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2256</c:v>
                </c:pt>
                <c:pt idx="1">
                  <c:v>0.002587</c:v>
                </c:pt>
                <c:pt idx="2">
                  <c:v>0.004192</c:v>
                </c:pt>
                <c:pt idx="3">
                  <c:v>0.003955</c:v>
                </c:pt>
                <c:pt idx="4">
                  <c:v>0.005437</c:v>
                </c:pt>
                <c:pt idx="5">
                  <c:v>0.00725</c:v>
                </c:pt>
                <c:pt idx="6">
                  <c:v>0.005375</c:v>
                </c:pt>
                <c:pt idx="7">
                  <c:v>0.003578</c:v>
                </c:pt>
                <c:pt idx="8">
                  <c:v>0.007539</c:v>
                </c:pt>
                <c:pt idx="9">
                  <c:v>0.006024</c:v>
                </c:pt>
                <c:pt idx="10">
                  <c:v>0.006687</c:v>
                </c:pt>
                <c:pt idx="11">
                  <c:v>0.030647</c:v>
                </c:pt>
                <c:pt idx="12">
                  <c:v>0.030366</c:v>
                </c:pt>
                <c:pt idx="13">
                  <c:v>0.015301</c:v>
                </c:pt>
                <c:pt idx="14">
                  <c:v>0.018711</c:v>
                </c:pt>
                <c:pt idx="15">
                  <c:v>0.016667</c:v>
                </c:pt>
                <c:pt idx="16">
                  <c:v>0.017758</c:v>
                </c:pt>
                <c:pt idx="17">
                  <c:v>0.018427</c:v>
                </c:pt>
                <c:pt idx="18">
                  <c:v>0.016067</c:v>
                </c:pt>
                <c:pt idx="19">
                  <c:v>0.009804</c:v>
                </c:pt>
                <c:pt idx="20">
                  <c:v>0.018183</c:v>
                </c:pt>
                <c:pt idx="21">
                  <c:v>0.017818</c:v>
                </c:pt>
                <c:pt idx="22">
                  <c:v>0.020522</c:v>
                </c:pt>
                <c:pt idx="23">
                  <c:v>0.056741</c:v>
                </c:pt>
                <c:pt idx="24">
                  <c:v>0.042537</c:v>
                </c:pt>
                <c:pt idx="25">
                  <c:v>0.029498</c:v>
                </c:pt>
                <c:pt idx="26">
                  <c:v>0.029267</c:v>
                </c:pt>
                <c:pt idx="27">
                  <c:v>0.028995</c:v>
                </c:pt>
                <c:pt idx="28">
                  <c:v>0.029128</c:v>
                </c:pt>
                <c:pt idx="29">
                  <c:v>0.033436</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3.081663</c:v>
                </c:pt>
                <c:pt idx="1">
                  <c:v>2.259063</c:v>
                </c:pt>
                <c:pt idx="2">
                  <c:v>2.448976</c:v>
                </c:pt>
                <c:pt idx="3">
                  <c:v>2.22868</c:v>
                </c:pt>
                <c:pt idx="4">
                  <c:v>2.374244</c:v>
                </c:pt>
                <c:pt idx="5">
                  <c:v>2.859527</c:v>
                </c:pt>
                <c:pt idx="6">
                  <c:v>2.177659</c:v>
                </c:pt>
                <c:pt idx="7">
                  <c:v>1.29526</c:v>
                </c:pt>
                <c:pt idx="8">
                  <c:v>2.327972</c:v>
                </c:pt>
                <c:pt idx="9">
                  <c:v>2.369243</c:v>
                </c:pt>
                <c:pt idx="10">
                  <c:v>3.135974</c:v>
                </c:pt>
                <c:pt idx="11">
                  <c:v>8.038233</c:v>
                </c:pt>
                <c:pt idx="12">
                  <c:v>3.879625</c:v>
                </c:pt>
                <c:pt idx="13">
                  <c:v>1.948091</c:v>
                </c:pt>
                <c:pt idx="14">
                  <c:v>2.228</c:v>
                </c:pt>
                <c:pt idx="15">
                  <c:v>1.891498</c:v>
                </c:pt>
                <c:pt idx="16">
                  <c:v>2.346572</c:v>
                </c:pt>
                <c:pt idx="17">
                  <c:v>2.477654</c:v>
                </c:pt>
                <c:pt idx="18">
                  <c:v>1.934577</c:v>
                </c:pt>
                <c:pt idx="19">
                  <c:v>1.215036</c:v>
                </c:pt>
                <c:pt idx="20">
                  <c:v>2.134706</c:v>
                </c:pt>
                <c:pt idx="21">
                  <c:v>2.576424</c:v>
                </c:pt>
                <c:pt idx="22">
                  <c:v>2.728096</c:v>
                </c:pt>
                <c:pt idx="23">
                  <c:v>6.605372</c:v>
                </c:pt>
                <c:pt idx="24">
                  <c:v>2.237158</c:v>
                </c:pt>
                <c:pt idx="25">
                  <c:v>1.770126</c:v>
                </c:pt>
                <c:pt idx="26">
                  <c:v>1.934634</c:v>
                </c:pt>
                <c:pt idx="27">
                  <c:v>1.906301</c:v>
                </c:pt>
                <c:pt idx="28">
                  <c:v>2.162766</c:v>
                </c:pt>
                <c:pt idx="29">
                  <c:v>2.26948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0.145849</c:v>
                </c:pt>
                <c:pt idx="1">
                  <c:v>0.125063</c:v>
                </c:pt>
                <c:pt idx="2">
                  <c:v>0.128882</c:v>
                </c:pt>
                <c:pt idx="3">
                  <c:v>0.168919</c:v>
                </c:pt>
                <c:pt idx="4">
                  <c:v>0.20025</c:v>
                </c:pt>
                <c:pt idx="5">
                  <c:v>0.229847</c:v>
                </c:pt>
                <c:pt idx="6">
                  <c:v>0.30599</c:v>
                </c:pt>
                <c:pt idx="7">
                  <c:v>0.338796</c:v>
                </c:pt>
                <c:pt idx="8">
                  <c:v>0.198483</c:v>
                </c:pt>
                <c:pt idx="9">
                  <c:v>0.16407</c:v>
                </c:pt>
                <c:pt idx="10">
                  <c:v>0.183861</c:v>
                </c:pt>
                <c:pt idx="11">
                  <c:v>0.612659</c:v>
                </c:pt>
                <c:pt idx="12">
                  <c:v>0.233993</c:v>
                </c:pt>
                <c:pt idx="13">
                  <c:v>0.098679</c:v>
                </c:pt>
                <c:pt idx="14">
                  <c:v>0.125807</c:v>
                </c:pt>
                <c:pt idx="15">
                  <c:v>0.129645</c:v>
                </c:pt>
                <c:pt idx="16">
                  <c:v>0.226839</c:v>
                </c:pt>
                <c:pt idx="17">
                  <c:v>0.197802</c:v>
                </c:pt>
                <c:pt idx="18">
                  <c:v>0.301224</c:v>
                </c:pt>
                <c:pt idx="19">
                  <c:v>0.33207</c:v>
                </c:pt>
                <c:pt idx="20">
                  <c:v>0.172824</c:v>
                </c:pt>
                <c:pt idx="21">
                  <c:v>0.175781</c:v>
                </c:pt>
                <c:pt idx="22">
                  <c:v>0.161429</c:v>
                </c:pt>
                <c:pt idx="23">
                  <c:v>0.524901</c:v>
                </c:pt>
                <c:pt idx="24">
                  <c:v>0.114958</c:v>
                </c:pt>
                <c:pt idx="25">
                  <c:v>0.095266</c:v>
                </c:pt>
                <c:pt idx="26">
                  <c:v>0.117156</c:v>
                </c:pt>
                <c:pt idx="27">
                  <c:v>0.144703</c:v>
                </c:pt>
                <c:pt idx="28">
                  <c:v>0.182604</c:v>
                </c:pt>
                <c:pt idx="29">
                  <c:v>0.21655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12638</c:v>
                </c:pt>
                <c:pt idx="1">
                  <c:v>0.011498</c:v>
                </c:pt>
                <c:pt idx="2">
                  <c:v>0.01067</c:v>
                </c:pt>
                <c:pt idx="3">
                  <c:v>0.016307</c:v>
                </c:pt>
                <c:pt idx="4">
                  <c:v>0.018009</c:v>
                </c:pt>
                <c:pt idx="5">
                  <c:v>0.018868</c:v>
                </c:pt>
                <c:pt idx="6">
                  <c:v>0.021747</c:v>
                </c:pt>
                <c:pt idx="7">
                  <c:v>0.026972</c:v>
                </c:pt>
                <c:pt idx="8">
                  <c:v>0.017507</c:v>
                </c:pt>
                <c:pt idx="9">
                  <c:v>0.014039</c:v>
                </c:pt>
                <c:pt idx="10">
                  <c:v>0.013203</c:v>
                </c:pt>
                <c:pt idx="11">
                  <c:v>0.03117</c:v>
                </c:pt>
                <c:pt idx="12">
                  <c:v>0.017552</c:v>
                </c:pt>
                <c:pt idx="13">
                  <c:v>0.011474</c:v>
                </c:pt>
                <c:pt idx="14">
                  <c:v>0.012558</c:v>
                </c:pt>
                <c:pt idx="15">
                  <c:v>0.013457</c:v>
                </c:pt>
                <c:pt idx="16">
                  <c:v>0.017126</c:v>
                </c:pt>
                <c:pt idx="17">
                  <c:v>0.016057</c:v>
                </c:pt>
                <c:pt idx="18">
                  <c:v>0.021944</c:v>
                </c:pt>
                <c:pt idx="19">
                  <c:v>0.026158</c:v>
                </c:pt>
                <c:pt idx="20">
                  <c:v>0.016779</c:v>
                </c:pt>
                <c:pt idx="21">
                  <c:v>0.015585</c:v>
                </c:pt>
                <c:pt idx="22">
                  <c:v>0.012309</c:v>
                </c:pt>
                <c:pt idx="23">
                  <c:v>0.025283</c:v>
                </c:pt>
                <c:pt idx="24">
                  <c:v>0.011755</c:v>
                </c:pt>
                <c:pt idx="25">
                  <c:v>0.011598</c:v>
                </c:pt>
                <c:pt idx="26">
                  <c:v>0.011557</c:v>
                </c:pt>
                <c:pt idx="27">
                  <c:v>0.016374</c:v>
                </c:pt>
                <c:pt idx="28">
                  <c:v>0.016409</c:v>
                </c:pt>
                <c:pt idx="29">
                  <c:v>0.015722</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0388</c:v>
                </c:pt>
                <c:pt idx="1">
                  <c:v>0.000167</c:v>
                </c:pt>
                <c:pt idx="2">
                  <c:v>0.000263</c:v>
                </c:pt>
                <c:pt idx="3">
                  <c:v>0.000424</c:v>
                </c:pt>
                <c:pt idx="4">
                  <c:v>0.000647</c:v>
                </c:pt>
                <c:pt idx="5">
                  <c:v>0.000466</c:v>
                </c:pt>
                <c:pt idx="6">
                  <c:v>0.00086</c:v>
                </c:pt>
                <c:pt idx="7">
                  <c:v>0.001242</c:v>
                </c:pt>
                <c:pt idx="8">
                  <c:v>0.000434</c:v>
                </c:pt>
                <c:pt idx="9">
                  <c:v>0.000267</c:v>
                </c:pt>
                <c:pt idx="10">
                  <c:v>0.000137</c:v>
                </c:pt>
                <c:pt idx="11">
                  <c:v>0.002372</c:v>
                </c:pt>
                <c:pt idx="12">
                  <c:v>0.00159</c:v>
                </c:pt>
                <c:pt idx="13">
                  <c:v>0.00084</c:v>
                </c:pt>
                <c:pt idx="14">
                  <c:v>0.00125</c:v>
                </c:pt>
                <c:pt idx="15">
                  <c:v>0.00083</c:v>
                </c:pt>
                <c:pt idx="16">
                  <c:v>0.001081</c:v>
                </c:pt>
                <c:pt idx="17">
                  <c:v>0.001569</c:v>
                </c:pt>
                <c:pt idx="18">
                  <c:v>0.002297</c:v>
                </c:pt>
                <c:pt idx="19">
                  <c:v>0.002289</c:v>
                </c:pt>
                <c:pt idx="20">
                  <c:v>0.001331</c:v>
                </c:pt>
                <c:pt idx="21">
                  <c:v>0.001194</c:v>
                </c:pt>
                <c:pt idx="22">
                  <c:v>0.001072</c:v>
                </c:pt>
                <c:pt idx="23">
                  <c:v>0.004565</c:v>
                </c:pt>
                <c:pt idx="24">
                  <c:v>0.002001</c:v>
                </c:pt>
                <c:pt idx="25">
                  <c:v>0.001054</c:v>
                </c:pt>
                <c:pt idx="26">
                  <c:v>0.001539</c:v>
                </c:pt>
                <c:pt idx="27">
                  <c:v>0.002507</c:v>
                </c:pt>
                <c:pt idx="28">
                  <c:v>0.002257</c:v>
                </c:pt>
                <c:pt idx="29">
                  <c:v>0.002342</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0.158875</c:v>
                </c:pt>
                <c:pt idx="1">
                  <c:v>0.136728</c:v>
                </c:pt>
                <c:pt idx="2">
                  <c:v>0.139815</c:v>
                </c:pt>
                <c:pt idx="3">
                  <c:v>0.18565</c:v>
                </c:pt>
                <c:pt idx="4">
                  <c:v>0.218906</c:v>
                </c:pt>
                <c:pt idx="5">
                  <c:v>0.249181</c:v>
                </c:pt>
                <c:pt idx="6">
                  <c:v>0.328597</c:v>
                </c:pt>
                <c:pt idx="7">
                  <c:v>0.36701</c:v>
                </c:pt>
                <c:pt idx="8">
                  <c:v>0.216424</c:v>
                </c:pt>
                <c:pt idx="9">
                  <c:v>0.178376</c:v>
                </c:pt>
                <c:pt idx="10">
                  <c:v>0.197201</c:v>
                </c:pt>
                <c:pt idx="11">
                  <c:v>0.646201</c:v>
                </c:pt>
                <c:pt idx="12">
                  <c:v>0.253135</c:v>
                </c:pt>
                <c:pt idx="13">
                  <c:v>0.110993</c:v>
                </c:pt>
                <c:pt idx="14">
                  <c:v>0.139615</c:v>
                </c:pt>
                <c:pt idx="15">
                  <c:v>0.143932</c:v>
                </c:pt>
                <c:pt idx="16">
                  <c:v>0.245046</c:v>
                </c:pt>
                <c:pt idx="17">
                  <c:v>0.215428</c:v>
                </c:pt>
                <c:pt idx="18">
                  <c:v>0.325465</c:v>
                </c:pt>
                <c:pt idx="19">
                  <c:v>0.360517</c:v>
                </c:pt>
                <c:pt idx="20">
                  <c:v>0.190934</c:v>
                </c:pt>
                <c:pt idx="21">
                  <c:v>0.19256</c:v>
                </c:pt>
                <c:pt idx="22">
                  <c:v>0.17481</c:v>
                </c:pt>
                <c:pt idx="23">
                  <c:v>0.554749</c:v>
                </c:pt>
                <c:pt idx="24">
                  <c:v>0.128714</c:v>
                </c:pt>
                <c:pt idx="25">
                  <c:v>0.107918</c:v>
                </c:pt>
                <c:pt idx="26">
                  <c:v>0.130252</c:v>
                </c:pt>
                <c:pt idx="27">
                  <c:v>0.163584</c:v>
                </c:pt>
                <c:pt idx="28">
                  <c:v>0.20127</c:v>
                </c:pt>
                <c:pt idx="29">
                  <c:v>0.2346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0.184322</c:v>
                </c:pt>
                <c:pt idx="1">
                  <c:v>0.13629</c:v>
                </c:pt>
                <c:pt idx="2">
                  <c:v>0.144317</c:v>
                </c:pt>
                <c:pt idx="3">
                  <c:v>0.160906</c:v>
                </c:pt>
                <c:pt idx="4">
                  <c:v>0.183961</c:v>
                </c:pt>
                <c:pt idx="5">
                  <c:v>0.220953</c:v>
                </c:pt>
                <c:pt idx="6">
                  <c:v>0.218183</c:v>
                </c:pt>
                <c:pt idx="7">
                  <c:v>0.192484</c:v>
                </c:pt>
                <c:pt idx="8">
                  <c:v>0.175519</c:v>
                </c:pt>
                <c:pt idx="9">
                  <c:v>0.172838</c:v>
                </c:pt>
                <c:pt idx="10">
                  <c:v>0.240324</c:v>
                </c:pt>
                <c:pt idx="11">
                  <c:v>0.775779</c:v>
                </c:pt>
                <c:pt idx="12">
                  <c:v>0.226611</c:v>
                </c:pt>
                <c:pt idx="13">
                  <c:v>0.115808</c:v>
                </c:pt>
                <c:pt idx="14">
                  <c:v>0.141118</c:v>
                </c:pt>
                <c:pt idx="15">
                  <c:v>0.13404</c:v>
                </c:pt>
                <c:pt idx="16">
                  <c:v>0.180867</c:v>
                </c:pt>
                <c:pt idx="17">
                  <c:v>0.200206</c:v>
                </c:pt>
                <c:pt idx="18">
                  <c:v>0.22241</c:v>
                </c:pt>
                <c:pt idx="19">
                  <c:v>0.192158</c:v>
                </c:pt>
                <c:pt idx="20">
                  <c:v>0.166926</c:v>
                </c:pt>
                <c:pt idx="21">
                  <c:v>0.129693</c:v>
                </c:pt>
                <c:pt idx="22">
                  <c:v>0.174108</c:v>
                </c:pt>
                <c:pt idx="23">
                  <c:v>0.695742</c:v>
                </c:pt>
                <c:pt idx="24">
                  <c:v>0.132901</c:v>
                </c:pt>
                <c:pt idx="25">
                  <c:v>0.10057</c:v>
                </c:pt>
                <c:pt idx="26">
                  <c:v>0.118124</c:v>
                </c:pt>
                <c:pt idx="27">
                  <c:v>0.128342</c:v>
                </c:pt>
                <c:pt idx="28">
                  <c:v>0.162889</c:v>
                </c:pt>
                <c:pt idx="29">
                  <c:v>0.194161</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11002</c:v>
                </c:pt>
                <c:pt idx="1">
                  <c:v>0.009314</c:v>
                </c:pt>
                <c:pt idx="2">
                  <c:v>0.010423</c:v>
                </c:pt>
                <c:pt idx="3">
                  <c:v>0.012594</c:v>
                </c:pt>
                <c:pt idx="4">
                  <c:v>0.016583</c:v>
                </c:pt>
                <c:pt idx="5">
                  <c:v>0.018239</c:v>
                </c:pt>
                <c:pt idx="6">
                  <c:v>0.016421</c:v>
                </c:pt>
                <c:pt idx="7">
                  <c:v>0.013777</c:v>
                </c:pt>
                <c:pt idx="8">
                  <c:v>0.013215</c:v>
                </c:pt>
                <c:pt idx="9">
                  <c:v>0.010638</c:v>
                </c:pt>
                <c:pt idx="10">
                  <c:v>0.012404</c:v>
                </c:pt>
                <c:pt idx="11">
                  <c:v>0.024748</c:v>
                </c:pt>
                <c:pt idx="12">
                  <c:v>0.014002</c:v>
                </c:pt>
                <c:pt idx="13">
                  <c:v>0.009644</c:v>
                </c:pt>
                <c:pt idx="14">
                  <c:v>0.010852</c:v>
                </c:pt>
                <c:pt idx="15">
                  <c:v>0.0124</c:v>
                </c:pt>
                <c:pt idx="16">
                  <c:v>0.014504</c:v>
                </c:pt>
                <c:pt idx="17">
                  <c:v>0.015851</c:v>
                </c:pt>
                <c:pt idx="18">
                  <c:v>0.015913</c:v>
                </c:pt>
                <c:pt idx="19">
                  <c:v>0.012924</c:v>
                </c:pt>
                <c:pt idx="20">
                  <c:v>0.012827</c:v>
                </c:pt>
                <c:pt idx="21">
                  <c:v>0.010631</c:v>
                </c:pt>
                <c:pt idx="22">
                  <c:v>0.011882</c:v>
                </c:pt>
                <c:pt idx="23">
                  <c:v>0.020323</c:v>
                </c:pt>
                <c:pt idx="24">
                  <c:v>0.009133</c:v>
                </c:pt>
                <c:pt idx="25">
                  <c:v>0.007407</c:v>
                </c:pt>
                <c:pt idx="26">
                  <c:v>0.008532</c:v>
                </c:pt>
                <c:pt idx="27">
                  <c:v>0.010003</c:v>
                </c:pt>
                <c:pt idx="28">
                  <c:v>0.011278</c:v>
                </c:pt>
                <c:pt idx="29">
                  <c:v>0.01282</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0243</c:v>
                </c:pt>
                <c:pt idx="1">
                  <c:v>0.00012</c:v>
                </c:pt>
                <c:pt idx="2">
                  <c:v>0.000179</c:v>
                </c:pt>
                <c:pt idx="3">
                  <c:v>0.000313</c:v>
                </c:pt>
                <c:pt idx="4">
                  <c:v>0.000354</c:v>
                </c:pt>
                <c:pt idx="5">
                  <c:v>0.000314</c:v>
                </c:pt>
                <c:pt idx="6">
                  <c:v>0.000475</c:v>
                </c:pt>
                <c:pt idx="7">
                  <c:v>0.000655</c:v>
                </c:pt>
                <c:pt idx="8">
                  <c:v>0.000413</c:v>
                </c:pt>
                <c:pt idx="9">
                  <c:v>0.000472</c:v>
                </c:pt>
                <c:pt idx="10">
                  <c:v>0.000337</c:v>
                </c:pt>
                <c:pt idx="11">
                  <c:v>0.002148</c:v>
                </c:pt>
                <c:pt idx="12">
                  <c:v>0.001475</c:v>
                </c:pt>
                <c:pt idx="13">
                  <c:v>0.000689</c:v>
                </c:pt>
                <c:pt idx="14">
                  <c:v>0.001022</c:v>
                </c:pt>
                <c:pt idx="15">
                  <c:v>0.000742</c:v>
                </c:pt>
                <c:pt idx="16">
                  <c:v>0.000955</c:v>
                </c:pt>
                <c:pt idx="17">
                  <c:v>0.00118</c:v>
                </c:pt>
                <c:pt idx="18">
                  <c:v>0.00127</c:v>
                </c:pt>
                <c:pt idx="19">
                  <c:v>0.000995</c:v>
                </c:pt>
                <c:pt idx="20">
                  <c:v>0.001238</c:v>
                </c:pt>
                <c:pt idx="21">
                  <c:v>0.000469</c:v>
                </c:pt>
                <c:pt idx="22">
                  <c:v>0.00094</c:v>
                </c:pt>
                <c:pt idx="23">
                  <c:v>0.003643</c:v>
                </c:pt>
                <c:pt idx="24">
                  <c:v>0.001699</c:v>
                </c:pt>
                <c:pt idx="25">
                  <c:v>0.001543</c:v>
                </c:pt>
                <c:pt idx="26">
                  <c:v>0.001217</c:v>
                </c:pt>
                <c:pt idx="27">
                  <c:v>0.001929</c:v>
                </c:pt>
                <c:pt idx="28">
                  <c:v>0.002782</c:v>
                </c:pt>
                <c:pt idx="29">
                  <c:v>0.002541</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0.195567</c:v>
                </c:pt>
                <c:pt idx="1">
                  <c:v>0.145724</c:v>
                </c:pt>
                <c:pt idx="2">
                  <c:v>0.154919</c:v>
                </c:pt>
                <c:pt idx="3">
                  <c:v>0.173813</c:v>
                </c:pt>
                <c:pt idx="4">
                  <c:v>0.200898</c:v>
                </c:pt>
                <c:pt idx="5">
                  <c:v>0.239506</c:v>
                </c:pt>
                <c:pt idx="6">
                  <c:v>0.235079</c:v>
                </c:pt>
                <c:pt idx="7">
                  <c:v>0.206916</c:v>
                </c:pt>
                <c:pt idx="8">
                  <c:v>0.189147</c:v>
                </c:pt>
                <c:pt idx="9">
                  <c:v>0.183948</c:v>
                </c:pt>
                <c:pt idx="10">
                  <c:v>0.253065</c:v>
                </c:pt>
                <c:pt idx="11">
                  <c:v>0.802675</c:v>
                </c:pt>
                <c:pt idx="12">
                  <c:v>0.242088</c:v>
                </c:pt>
                <c:pt idx="13">
                  <c:v>0.126141</c:v>
                </c:pt>
                <c:pt idx="14">
                  <c:v>0.152992</c:v>
                </c:pt>
                <c:pt idx="15">
                  <c:v>0.147182</c:v>
                </c:pt>
                <c:pt idx="16">
                  <c:v>0.196326</c:v>
                </c:pt>
                <c:pt idx="17">
                  <c:v>0.217237</c:v>
                </c:pt>
                <c:pt idx="18">
                  <c:v>0.239593</c:v>
                </c:pt>
                <c:pt idx="19">
                  <c:v>0.206077</c:v>
                </c:pt>
                <c:pt idx="20">
                  <c:v>0.180991</c:v>
                </c:pt>
                <c:pt idx="21">
                  <c:v>0.140793</c:v>
                </c:pt>
                <c:pt idx="22">
                  <c:v>0.18693</c:v>
                </c:pt>
                <c:pt idx="23">
                  <c:v>0.719708</c:v>
                </c:pt>
                <c:pt idx="24">
                  <c:v>0.143733</c:v>
                </c:pt>
                <c:pt idx="25">
                  <c:v>0.10952</c:v>
                </c:pt>
                <c:pt idx="26">
                  <c:v>0.127873</c:v>
                </c:pt>
                <c:pt idx="27">
                  <c:v>0.140274</c:v>
                </c:pt>
                <c:pt idx="28">
                  <c:v>0.176949</c:v>
                </c:pt>
                <c:pt idx="29">
                  <c:v>0.20952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4.794077</c:v>
                </c:pt>
                <c:pt idx="1">
                  <c:v>3.433538</c:v>
                </c:pt>
                <c:pt idx="2">
                  <c:v>3.724516</c:v>
                </c:pt>
                <c:pt idx="3">
                  <c:v>3.356054</c:v>
                </c:pt>
                <c:pt idx="4">
                  <c:v>3.482988</c:v>
                </c:pt>
                <c:pt idx="5">
                  <c:v>4.349472</c:v>
                </c:pt>
                <c:pt idx="6">
                  <c:v>3.34249</c:v>
                </c:pt>
                <c:pt idx="7">
                  <c:v>1.911163</c:v>
                </c:pt>
                <c:pt idx="8">
                  <c:v>3.565304</c:v>
                </c:pt>
                <c:pt idx="9">
                  <c:v>3.619411</c:v>
                </c:pt>
                <c:pt idx="10">
                  <c:v>4.975058</c:v>
                </c:pt>
                <c:pt idx="11">
                  <c:v>12.233416</c:v>
                </c:pt>
                <c:pt idx="12">
                  <c:v>5.725605</c:v>
                </c:pt>
                <c:pt idx="13">
                  <c:v>2.826884</c:v>
                </c:pt>
                <c:pt idx="14">
                  <c:v>3.318334</c:v>
                </c:pt>
                <c:pt idx="15">
                  <c:v>2.786562</c:v>
                </c:pt>
                <c:pt idx="16">
                  <c:v>3.381511</c:v>
                </c:pt>
                <c:pt idx="17">
                  <c:v>3.752309</c:v>
                </c:pt>
                <c:pt idx="18">
                  <c:v>2.847021</c:v>
                </c:pt>
                <c:pt idx="19">
                  <c:v>1.6832</c:v>
                </c:pt>
                <c:pt idx="20">
                  <c:v>3.18644</c:v>
                </c:pt>
                <c:pt idx="21">
                  <c:v>3.787007</c:v>
                </c:pt>
                <c:pt idx="22">
                  <c:v>4.109025</c:v>
                </c:pt>
                <c:pt idx="23">
                  <c:v>9.990821</c:v>
                </c:pt>
                <c:pt idx="24">
                  <c:v>3.361594</c:v>
                </c:pt>
                <c:pt idx="25">
                  <c:v>2.567038</c:v>
                </c:pt>
                <c:pt idx="26">
                  <c:v>2.844134</c:v>
                </c:pt>
                <c:pt idx="27">
                  <c:v>2.711129</c:v>
                </c:pt>
                <c:pt idx="28">
                  <c:v>3.16694</c:v>
                </c:pt>
                <c:pt idx="29">
                  <c:v>3.430267</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23554</c:v>
                </c:pt>
                <c:pt idx="1">
                  <c:v>0.204142</c:v>
                </c:pt>
                <c:pt idx="2">
                  <c:v>0.223735</c:v>
                </c:pt>
                <c:pt idx="3">
                  <c:v>0.229641</c:v>
                </c:pt>
                <c:pt idx="4">
                  <c:v>0.256414</c:v>
                </c:pt>
                <c:pt idx="5">
                  <c:v>0.308242</c:v>
                </c:pt>
                <c:pt idx="6">
                  <c:v>0.216236</c:v>
                </c:pt>
                <c:pt idx="7">
                  <c:v>0.145646</c:v>
                </c:pt>
                <c:pt idx="8">
                  <c:v>0.235235</c:v>
                </c:pt>
                <c:pt idx="9">
                  <c:v>0.232928</c:v>
                </c:pt>
                <c:pt idx="10">
                  <c:v>0.245877</c:v>
                </c:pt>
                <c:pt idx="11">
                  <c:v>0.424289</c:v>
                </c:pt>
                <c:pt idx="12">
                  <c:v>0.309265</c:v>
                </c:pt>
                <c:pt idx="13">
                  <c:v>0.201904</c:v>
                </c:pt>
                <c:pt idx="14">
                  <c:v>0.246866</c:v>
                </c:pt>
                <c:pt idx="15">
                  <c:v>0.207889</c:v>
                </c:pt>
                <c:pt idx="16">
                  <c:v>0.240783</c:v>
                </c:pt>
                <c:pt idx="17">
                  <c:v>0.276408</c:v>
                </c:pt>
                <c:pt idx="18">
                  <c:v>0.21065</c:v>
                </c:pt>
                <c:pt idx="19">
                  <c:v>0.130002</c:v>
                </c:pt>
                <c:pt idx="20">
                  <c:v>0.224035</c:v>
                </c:pt>
                <c:pt idx="21">
                  <c:v>0.239934</c:v>
                </c:pt>
                <c:pt idx="22">
                  <c:v>0.247017</c:v>
                </c:pt>
                <c:pt idx="23">
                  <c:v>0.348359</c:v>
                </c:pt>
                <c:pt idx="24">
                  <c:v>0.220523</c:v>
                </c:pt>
                <c:pt idx="25">
                  <c:v>0.179699</c:v>
                </c:pt>
                <c:pt idx="26">
                  <c:v>0.216448</c:v>
                </c:pt>
                <c:pt idx="27">
                  <c:v>0.222044</c:v>
                </c:pt>
                <c:pt idx="28">
                  <c:v>0.241313</c:v>
                </c:pt>
                <c:pt idx="29">
                  <c:v>0.254756</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378</c:v>
                </c:pt>
                <c:pt idx="1">
                  <c:v>0.003727</c:v>
                </c:pt>
                <c:pt idx="2">
                  <c:v>0.005558</c:v>
                </c:pt>
                <c:pt idx="3">
                  <c:v>0.005341</c:v>
                </c:pt>
                <c:pt idx="4">
                  <c:v>0.007231</c:v>
                </c:pt>
                <c:pt idx="5">
                  <c:v>0.010192</c:v>
                </c:pt>
                <c:pt idx="6">
                  <c:v>0.007053</c:v>
                </c:pt>
                <c:pt idx="7">
                  <c:v>0.004732</c:v>
                </c:pt>
                <c:pt idx="8">
                  <c:v>0.011299</c:v>
                </c:pt>
                <c:pt idx="9">
                  <c:v>0.008886</c:v>
                </c:pt>
                <c:pt idx="10">
                  <c:v>0.010382</c:v>
                </c:pt>
                <c:pt idx="11">
                  <c:v>0.039676</c:v>
                </c:pt>
                <c:pt idx="12">
                  <c:v>0.042187</c:v>
                </c:pt>
                <c:pt idx="13">
                  <c:v>0.020447</c:v>
                </c:pt>
                <c:pt idx="14">
                  <c:v>0.025942</c:v>
                </c:pt>
                <c:pt idx="15">
                  <c:v>0.023103</c:v>
                </c:pt>
                <c:pt idx="16">
                  <c:v>0.025193</c:v>
                </c:pt>
                <c:pt idx="17">
                  <c:v>0.027836</c:v>
                </c:pt>
                <c:pt idx="18">
                  <c:v>0.022378</c:v>
                </c:pt>
                <c:pt idx="19">
                  <c:v>0.014291</c:v>
                </c:pt>
                <c:pt idx="20">
                  <c:v>0.026401</c:v>
                </c:pt>
                <c:pt idx="21">
                  <c:v>0.026603</c:v>
                </c:pt>
                <c:pt idx="22">
                  <c:v>0.030569</c:v>
                </c:pt>
                <c:pt idx="23">
                  <c:v>0.08271</c:v>
                </c:pt>
                <c:pt idx="24">
                  <c:v>0.066373</c:v>
                </c:pt>
                <c:pt idx="25">
                  <c:v>0.043794</c:v>
                </c:pt>
                <c:pt idx="26">
                  <c:v>0.043624</c:v>
                </c:pt>
                <c:pt idx="27">
                  <c:v>0.042628</c:v>
                </c:pt>
                <c:pt idx="28">
                  <c:v>0.042533</c:v>
                </c:pt>
                <c:pt idx="29">
                  <c:v>0.048951</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5.033397</c:v>
                </c:pt>
                <c:pt idx="1">
                  <c:v>3.641407</c:v>
                </c:pt>
                <c:pt idx="2">
                  <c:v>3.953809</c:v>
                </c:pt>
                <c:pt idx="3">
                  <c:v>3.591036</c:v>
                </c:pt>
                <c:pt idx="4">
                  <c:v>3.746633</c:v>
                </c:pt>
                <c:pt idx="5">
                  <c:v>4.667906</c:v>
                </c:pt>
                <c:pt idx="6">
                  <c:v>3.565779</c:v>
                </c:pt>
                <c:pt idx="7">
                  <c:v>2.061541</c:v>
                </c:pt>
                <c:pt idx="8">
                  <c:v>3.811838</c:v>
                </c:pt>
                <c:pt idx="9">
                  <c:v>3.861225</c:v>
                </c:pt>
                <c:pt idx="10">
                  <c:v>5.231317</c:v>
                </c:pt>
                <c:pt idx="11">
                  <c:v>12.697381</c:v>
                </c:pt>
                <c:pt idx="12">
                  <c:v>6.077057</c:v>
                </c:pt>
                <c:pt idx="13">
                  <c:v>3.049235</c:v>
                </c:pt>
                <c:pt idx="14">
                  <c:v>3.591142</c:v>
                </c:pt>
                <c:pt idx="15">
                  <c:v>3.017554</c:v>
                </c:pt>
                <c:pt idx="16">
                  <c:v>3.647487</c:v>
                </c:pt>
                <c:pt idx="17">
                  <c:v>4.056553</c:v>
                </c:pt>
                <c:pt idx="18">
                  <c:v>3.080049</c:v>
                </c:pt>
                <c:pt idx="19">
                  <c:v>1.827493</c:v>
                </c:pt>
                <c:pt idx="20">
                  <c:v>3.436876</c:v>
                </c:pt>
                <c:pt idx="21">
                  <c:v>4.053544</c:v>
                </c:pt>
                <c:pt idx="22">
                  <c:v>4.386611</c:v>
                </c:pt>
                <c:pt idx="23">
                  <c:v>10.42189</c:v>
                </c:pt>
                <c:pt idx="24">
                  <c:v>3.64849</c:v>
                </c:pt>
                <c:pt idx="25">
                  <c:v>2.790531</c:v>
                </c:pt>
                <c:pt idx="26">
                  <c:v>3.104206</c:v>
                </c:pt>
                <c:pt idx="27">
                  <c:v>2.975801</c:v>
                </c:pt>
                <c:pt idx="28">
                  <c:v>3.450786</c:v>
                </c:pt>
                <c:pt idx="29">
                  <c:v>3.73397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0.11447</c:v>
                </c:pt>
                <c:pt idx="1">
                  <c:v>0.102201</c:v>
                </c:pt>
                <c:pt idx="2">
                  <c:v>0.122779</c:v>
                </c:pt>
                <c:pt idx="3">
                  <c:v>0.128513</c:v>
                </c:pt>
                <c:pt idx="4">
                  <c:v>0.126843</c:v>
                </c:pt>
                <c:pt idx="5">
                  <c:v>0.131591</c:v>
                </c:pt>
                <c:pt idx="6">
                  <c:v>0.12104</c:v>
                </c:pt>
                <c:pt idx="7">
                  <c:v>0.102228</c:v>
                </c:pt>
                <c:pt idx="8">
                  <c:v>0.11406</c:v>
                </c:pt>
                <c:pt idx="9">
                  <c:v>0.119365</c:v>
                </c:pt>
                <c:pt idx="10">
                  <c:v>0.148494</c:v>
                </c:pt>
                <c:pt idx="11">
                  <c:v>0.457313</c:v>
                </c:pt>
                <c:pt idx="12">
                  <c:v>0.17196</c:v>
                </c:pt>
                <c:pt idx="13">
                  <c:v>0.08769</c:v>
                </c:pt>
                <c:pt idx="14">
                  <c:v>0.094712</c:v>
                </c:pt>
                <c:pt idx="15">
                  <c:v>0.09626</c:v>
                </c:pt>
                <c:pt idx="16">
                  <c:v>0.112972</c:v>
                </c:pt>
                <c:pt idx="17">
                  <c:v>0.112072</c:v>
                </c:pt>
                <c:pt idx="18">
                  <c:v>0.12017</c:v>
                </c:pt>
                <c:pt idx="19">
                  <c:v>0.101102</c:v>
                </c:pt>
                <c:pt idx="20">
                  <c:v>0.110872</c:v>
                </c:pt>
                <c:pt idx="21">
                  <c:v>0.115289</c:v>
                </c:pt>
                <c:pt idx="22">
                  <c:v>0.154797</c:v>
                </c:pt>
                <c:pt idx="23">
                  <c:v>0.407564</c:v>
                </c:pt>
                <c:pt idx="24">
                  <c:v>0.087308</c:v>
                </c:pt>
                <c:pt idx="25">
                  <c:v>0.079766</c:v>
                </c:pt>
                <c:pt idx="26">
                  <c:v>0.08828</c:v>
                </c:pt>
                <c:pt idx="27">
                  <c:v>0.101456</c:v>
                </c:pt>
                <c:pt idx="28">
                  <c:v>0.122015</c:v>
                </c:pt>
                <c:pt idx="29">
                  <c:v>0.115454</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15219</c:v>
                </c:pt>
                <c:pt idx="1">
                  <c:v>0.014049</c:v>
                </c:pt>
                <c:pt idx="2">
                  <c:v>0.016988</c:v>
                </c:pt>
                <c:pt idx="3">
                  <c:v>0.020099</c:v>
                </c:pt>
                <c:pt idx="4">
                  <c:v>0.01909</c:v>
                </c:pt>
                <c:pt idx="5">
                  <c:v>0.018565</c:v>
                </c:pt>
                <c:pt idx="6">
                  <c:v>0.017385</c:v>
                </c:pt>
                <c:pt idx="7">
                  <c:v>0.01249</c:v>
                </c:pt>
                <c:pt idx="8">
                  <c:v>0.013345</c:v>
                </c:pt>
                <c:pt idx="9">
                  <c:v>0.014186</c:v>
                </c:pt>
                <c:pt idx="10">
                  <c:v>0.017861</c:v>
                </c:pt>
                <c:pt idx="11">
                  <c:v>0.040874</c:v>
                </c:pt>
                <c:pt idx="12">
                  <c:v>0.019469</c:v>
                </c:pt>
                <c:pt idx="13">
                  <c:v>0.015137</c:v>
                </c:pt>
                <c:pt idx="14">
                  <c:v>0.015391</c:v>
                </c:pt>
                <c:pt idx="15">
                  <c:v>0.015025</c:v>
                </c:pt>
                <c:pt idx="16">
                  <c:v>0.018037</c:v>
                </c:pt>
                <c:pt idx="17">
                  <c:v>0.017486</c:v>
                </c:pt>
                <c:pt idx="18">
                  <c:v>0.019388</c:v>
                </c:pt>
                <c:pt idx="19">
                  <c:v>0.014879</c:v>
                </c:pt>
                <c:pt idx="20">
                  <c:v>0.015602</c:v>
                </c:pt>
                <c:pt idx="21">
                  <c:v>0.018565</c:v>
                </c:pt>
                <c:pt idx="22">
                  <c:v>0.016791</c:v>
                </c:pt>
                <c:pt idx="23">
                  <c:v>0.038202</c:v>
                </c:pt>
                <c:pt idx="24">
                  <c:v>0.012165</c:v>
                </c:pt>
                <c:pt idx="25">
                  <c:v>0.013041</c:v>
                </c:pt>
                <c:pt idx="26">
                  <c:v>0.014864</c:v>
                </c:pt>
                <c:pt idx="27">
                  <c:v>0.016146</c:v>
                </c:pt>
                <c:pt idx="28">
                  <c:v>0.016893</c:v>
                </c:pt>
                <c:pt idx="29">
                  <c:v>0.01657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0113</c:v>
                </c:pt>
                <c:pt idx="1">
                  <c:v>0.000148</c:v>
                </c:pt>
                <c:pt idx="2">
                  <c:v>0.000106</c:v>
                </c:pt>
                <c:pt idx="3">
                  <c:v>0.000163</c:v>
                </c:pt>
                <c:pt idx="4">
                  <c:v>0.000373</c:v>
                </c:pt>
                <c:pt idx="5">
                  <c:v>0.000161</c:v>
                </c:pt>
                <c:pt idx="6">
                  <c:v>0.000228</c:v>
                </c:pt>
                <c:pt idx="7">
                  <c:v>0.000223</c:v>
                </c:pt>
                <c:pt idx="8">
                  <c:v>0.000498</c:v>
                </c:pt>
                <c:pt idx="9">
                  <c:v>0.000142</c:v>
                </c:pt>
                <c:pt idx="10">
                  <c:v>0.00033</c:v>
                </c:pt>
                <c:pt idx="11">
                  <c:v>0.001765</c:v>
                </c:pt>
                <c:pt idx="12">
                  <c:v>0.001368</c:v>
                </c:pt>
                <c:pt idx="13">
                  <c:v>0.000512</c:v>
                </c:pt>
                <c:pt idx="14">
                  <c:v>0.000686</c:v>
                </c:pt>
                <c:pt idx="15">
                  <c:v>0.000663</c:v>
                </c:pt>
                <c:pt idx="16">
                  <c:v>0.000793</c:v>
                </c:pt>
                <c:pt idx="17">
                  <c:v>0.000458</c:v>
                </c:pt>
                <c:pt idx="18">
                  <c:v>0.000541</c:v>
                </c:pt>
                <c:pt idx="19">
                  <c:v>0.000557</c:v>
                </c:pt>
                <c:pt idx="20">
                  <c:v>0.000674</c:v>
                </c:pt>
                <c:pt idx="21">
                  <c:v>0.000635</c:v>
                </c:pt>
                <c:pt idx="22">
                  <c:v>0.000604</c:v>
                </c:pt>
                <c:pt idx="23">
                  <c:v>0.00224</c:v>
                </c:pt>
                <c:pt idx="24">
                  <c:v>0.00171</c:v>
                </c:pt>
                <c:pt idx="25">
                  <c:v>0.001528</c:v>
                </c:pt>
                <c:pt idx="26">
                  <c:v>0.001214</c:v>
                </c:pt>
                <c:pt idx="27">
                  <c:v>0.001461</c:v>
                </c:pt>
                <c:pt idx="28">
                  <c:v>0.001834</c:v>
                </c:pt>
                <c:pt idx="29">
                  <c:v>0.000882</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0.129802</c:v>
                </c:pt>
                <c:pt idx="1">
                  <c:v>0.116398</c:v>
                </c:pt>
                <c:pt idx="2">
                  <c:v>0.139873</c:v>
                </c:pt>
                <c:pt idx="3">
                  <c:v>0.148775</c:v>
                </c:pt>
                <c:pt idx="4">
                  <c:v>0.146306</c:v>
                </c:pt>
                <c:pt idx="5">
                  <c:v>0.150317</c:v>
                </c:pt>
                <c:pt idx="6">
                  <c:v>0.138653</c:v>
                </c:pt>
                <c:pt idx="7">
                  <c:v>0.114941</c:v>
                </c:pt>
                <c:pt idx="8">
                  <c:v>0.127903</c:v>
                </c:pt>
                <c:pt idx="9">
                  <c:v>0.133693</c:v>
                </c:pt>
                <c:pt idx="10">
                  <c:v>0.166685</c:v>
                </c:pt>
                <c:pt idx="11">
                  <c:v>0.499952</c:v>
                </c:pt>
                <c:pt idx="12">
                  <c:v>0.192797</c:v>
                </c:pt>
                <c:pt idx="13">
                  <c:v>0.103339</c:v>
                </c:pt>
                <c:pt idx="14">
                  <c:v>0.110789</c:v>
                </c:pt>
                <c:pt idx="15">
                  <c:v>0.111948</c:v>
                </c:pt>
                <c:pt idx="16">
                  <c:v>0.131802</c:v>
                </c:pt>
                <c:pt idx="17">
                  <c:v>0.130016</c:v>
                </c:pt>
                <c:pt idx="18">
                  <c:v>0.140099</c:v>
                </c:pt>
                <c:pt idx="19">
                  <c:v>0.116538</c:v>
                </c:pt>
                <c:pt idx="20">
                  <c:v>0.127148</c:v>
                </c:pt>
                <c:pt idx="21">
                  <c:v>0.134489</c:v>
                </c:pt>
                <c:pt idx="22">
                  <c:v>0.172192</c:v>
                </c:pt>
                <c:pt idx="23">
                  <c:v>0.448006</c:v>
                </c:pt>
                <c:pt idx="24">
                  <c:v>0.101183</c:v>
                </c:pt>
                <c:pt idx="25">
                  <c:v>0.094335</c:v>
                </c:pt>
                <c:pt idx="26">
                  <c:v>0.104358</c:v>
                </c:pt>
                <c:pt idx="27">
                  <c:v>0.119063</c:v>
                </c:pt>
                <c:pt idx="28">
                  <c:v>0.140742</c:v>
                </c:pt>
                <c:pt idx="29">
                  <c:v>0.13291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0.077853</c:v>
                </c:pt>
                <c:pt idx="1">
                  <c:v>0.060827</c:v>
                </c:pt>
                <c:pt idx="2">
                  <c:v>0.068054</c:v>
                </c:pt>
                <c:pt idx="3">
                  <c:v>0.072786</c:v>
                </c:pt>
                <c:pt idx="4">
                  <c:v>0.077502</c:v>
                </c:pt>
                <c:pt idx="5">
                  <c:v>0.08012</c:v>
                </c:pt>
                <c:pt idx="6">
                  <c:v>0.085899</c:v>
                </c:pt>
                <c:pt idx="7">
                  <c:v>0.074136</c:v>
                </c:pt>
                <c:pt idx="8">
                  <c:v>0.070763</c:v>
                </c:pt>
                <c:pt idx="9">
                  <c:v>0.072647</c:v>
                </c:pt>
                <c:pt idx="10">
                  <c:v>0.102129</c:v>
                </c:pt>
                <c:pt idx="11">
                  <c:v>0.335927</c:v>
                </c:pt>
                <c:pt idx="12">
                  <c:v>0.127055</c:v>
                </c:pt>
                <c:pt idx="13">
                  <c:v>0.056823</c:v>
                </c:pt>
                <c:pt idx="14">
                  <c:v>0.061573</c:v>
                </c:pt>
                <c:pt idx="15">
                  <c:v>0.052552</c:v>
                </c:pt>
                <c:pt idx="16">
                  <c:v>0.081026</c:v>
                </c:pt>
                <c:pt idx="17">
                  <c:v>0.069255</c:v>
                </c:pt>
                <c:pt idx="18">
                  <c:v>0.072429</c:v>
                </c:pt>
                <c:pt idx="19">
                  <c:v>0.074579</c:v>
                </c:pt>
                <c:pt idx="20">
                  <c:v>0.06663</c:v>
                </c:pt>
                <c:pt idx="21">
                  <c:v>0.07862</c:v>
                </c:pt>
                <c:pt idx="22">
                  <c:v>0.085235</c:v>
                </c:pt>
                <c:pt idx="23">
                  <c:v>0.305857</c:v>
                </c:pt>
                <c:pt idx="24">
                  <c:v>0.053854</c:v>
                </c:pt>
                <c:pt idx="25">
                  <c:v>0.050071</c:v>
                </c:pt>
                <c:pt idx="26">
                  <c:v>0.058859</c:v>
                </c:pt>
                <c:pt idx="27">
                  <c:v>0.060773</c:v>
                </c:pt>
                <c:pt idx="28">
                  <c:v>0.073797</c:v>
                </c:pt>
                <c:pt idx="29">
                  <c:v>0.0714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04955</c:v>
                </c:pt>
                <c:pt idx="1">
                  <c:v>0.00517</c:v>
                </c:pt>
                <c:pt idx="2">
                  <c:v>0.005397</c:v>
                </c:pt>
                <c:pt idx="3">
                  <c:v>0.007035</c:v>
                </c:pt>
                <c:pt idx="4">
                  <c:v>0.007788</c:v>
                </c:pt>
                <c:pt idx="5">
                  <c:v>0.007215</c:v>
                </c:pt>
                <c:pt idx="6">
                  <c:v>0.007696</c:v>
                </c:pt>
                <c:pt idx="7">
                  <c:v>0.008006</c:v>
                </c:pt>
                <c:pt idx="8">
                  <c:v>0.006949</c:v>
                </c:pt>
                <c:pt idx="9">
                  <c:v>0.006993</c:v>
                </c:pt>
                <c:pt idx="10">
                  <c:v>0.008017</c:v>
                </c:pt>
                <c:pt idx="11">
                  <c:v>0.015992</c:v>
                </c:pt>
                <c:pt idx="12">
                  <c:v>0.00918</c:v>
                </c:pt>
                <c:pt idx="13">
                  <c:v>0.006827</c:v>
                </c:pt>
                <c:pt idx="14">
                  <c:v>0.006763</c:v>
                </c:pt>
                <c:pt idx="15">
                  <c:v>0.00621</c:v>
                </c:pt>
                <c:pt idx="16">
                  <c:v>0.007706</c:v>
                </c:pt>
                <c:pt idx="17">
                  <c:v>0.006226</c:v>
                </c:pt>
                <c:pt idx="18">
                  <c:v>0.008543</c:v>
                </c:pt>
                <c:pt idx="19">
                  <c:v>0.008535</c:v>
                </c:pt>
                <c:pt idx="20">
                  <c:v>0.008722</c:v>
                </c:pt>
                <c:pt idx="21">
                  <c:v>0.007809</c:v>
                </c:pt>
                <c:pt idx="22">
                  <c:v>0.008739</c:v>
                </c:pt>
                <c:pt idx="23">
                  <c:v>0.013619</c:v>
                </c:pt>
                <c:pt idx="24">
                  <c:v>0.00571</c:v>
                </c:pt>
                <c:pt idx="25">
                  <c:v>0.005507</c:v>
                </c:pt>
                <c:pt idx="26">
                  <c:v>0.005649</c:v>
                </c:pt>
                <c:pt idx="27">
                  <c:v>0.006264</c:v>
                </c:pt>
                <c:pt idx="28">
                  <c:v>0.007238</c:v>
                </c:pt>
                <c:pt idx="29">
                  <c:v>0.006721</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0106</c:v>
                </c:pt>
                <c:pt idx="1">
                  <c:v>3e-05</c:v>
                </c:pt>
                <c:pt idx="2">
                  <c:v>4.8e-05</c:v>
                </c:pt>
                <c:pt idx="3">
                  <c:v>9.7e-05</c:v>
                </c:pt>
                <c:pt idx="4">
                  <c:v>0.000216</c:v>
                </c:pt>
                <c:pt idx="5">
                  <c:v>0.00027</c:v>
                </c:pt>
                <c:pt idx="6">
                  <c:v>0.000157</c:v>
                </c:pt>
                <c:pt idx="7">
                  <c:v>0.000219</c:v>
                </c:pt>
                <c:pt idx="8">
                  <c:v>0.000219</c:v>
                </c:pt>
                <c:pt idx="9">
                  <c:v>9.9e-05</c:v>
                </c:pt>
                <c:pt idx="10">
                  <c:v>0.000211</c:v>
                </c:pt>
                <c:pt idx="11">
                  <c:v>0.001065</c:v>
                </c:pt>
                <c:pt idx="12">
                  <c:v>0.000997</c:v>
                </c:pt>
                <c:pt idx="13">
                  <c:v>0.000615</c:v>
                </c:pt>
                <c:pt idx="14">
                  <c:v>0.000813</c:v>
                </c:pt>
                <c:pt idx="15">
                  <c:v>0.000496</c:v>
                </c:pt>
                <c:pt idx="16">
                  <c:v>0.000834</c:v>
                </c:pt>
                <c:pt idx="17">
                  <c:v>0.000686</c:v>
                </c:pt>
                <c:pt idx="18">
                  <c:v>0.000469</c:v>
                </c:pt>
                <c:pt idx="19">
                  <c:v>0.000632</c:v>
                </c:pt>
                <c:pt idx="20">
                  <c:v>0.000407</c:v>
                </c:pt>
                <c:pt idx="21">
                  <c:v>0.000477</c:v>
                </c:pt>
                <c:pt idx="22">
                  <c:v>0.000495</c:v>
                </c:pt>
                <c:pt idx="23">
                  <c:v>0.002379</c:v>
                </c:pt>
                <c:pt idx="24">
                  <c:v>0.00148</c:v>
                </c:pt>
                <c:pt idx="25">
                  <c:v>0.00077</c:v>
                </c:pt>
                <c:pt idx="26">
                  <c:v>0.000918</c:v>
                </c:pt>
                <c:pt idx="27">
                  <c:v>0.000893</c:v>
                </c:pt>
                <c:pt idx="28">
                  <c:v>0.000972</c:v>
                </c:pt>
                <c:pt idx="29">
                  <c:v>0.000762</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0.082914</c:v>
                </c:pt>
                <c:pt idx="1">
                  <c:v>0.066027</c:v>
                </c:pt>
                <c:pt idx="2">
                  <c:v>0.073499</c:v>
                </c:pt>
                <c:pt idx="3">
                  <c:v>0.079918</c:v>
                </c:pt>
                <c:pt idx="4">
                  <c:v>0.085506</c:v>
                </c:pt>
                <c:pt idx="5">
                  <c:v>0.087605</c:v>
                </c:pt>
                <c:pt idx="6">
                  <c:v>0.093752</c:v>
                </c:pt>
                <c:pt idx="7">
                  <c:v>0.082361</c:v>
                </c:pt>
                <c:pt idx="8">
                  <c:v>0.077931</c:v>
                </c:pt>
                <c:pt idx="9">
                  <c:v>0.079739</c:v>
                </c:pt>
                <c:pt idx="10">
                  <c:v>0.110357</c:v>
                </c:pt>
                <c:pt idx="11">
                  <c:v>0.352984</c:v>
                </c:pt>
                <c:pt idx="12">
                  <c:v>0.137232</c:v>
                </c:pt>
                <c:pt idx="13">
                  <c:v>0.064265</c:v>
                </c:pt>
                <c:pt idx="14">
                  <c:v>0.069149</c:v>
                </c:pt>
                <c:pt idx="15">
                  <c:v>0.059258</c:v>
                </c:pt>
                <c:pt idx="16">
                  <c:v>0.089566</c:v>
                </c:pt>
                <c:pt idx="17">
                  <c:v>0.076167</c:v>
                </c:pt>
                <c:pt idx="18">
                  <c:v>0.081441</c:v>
                </c:pt>
                <c:pt idx="19">
                  <c:v>0.083746</c:v>
                </c:pt>
                <c:pt idx="20">
                  <c:v>0.075759</c:v>
                </c:pt>
                <c:pt idx="21">
                  <c:v>0.086906</c:v>
                </c:pt>
                <c:pt idx="22">
                  <c:v>0.094469</c:v>
                </c:pt>
                <c:pt idx="23">
                  <c:v>0.321855</c:v>
                </c:pt>
                <c:pt idx="24">
                  <c:v>0.061044</c:v>
                </c:pt>
                <c:pt idx="25">
                  <c:v>0.056348</c:v>
                </c:pt>
                <c:pt idx="26">
                  <c:v>0.065426</c:v>
                </c:pt>
                <c:pt idx="27">
                  <c:v>0.06793</c:v>
                </c:pt>
                <c:pt idx="28">
                  <c:v>0.082007</c:v>
                </c:pt>
                <c:pt idx="29">
                  <c:v>0.078943</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1.72436</c:v>
                </c:pt>
                <c:pt idx="1">
                  <c:v>1.30916</c:v>
                </c:pt>
                <c:pt idx="2">
                  <c:v>1.473699</c:v>
                </c:pt>
                <c:pt idx="3">
                  <c:v>1.275898</c:v>
                </c:pt>
                <c:pt idx="4">
                  <c:v>1.467239</c:v>
                </c:pt>
                <c:pt idx="5">
                  <c:v>1.76273</c:v>
                </c:pt>
                <c:pt idx="6">
                  <c:v>1.481606</c:v>
                </c:pt>
                <c:pt idx="7">
                  <c:v>1.144221</c:v>
                </c:pt>
                <c:pt idx="8">
                  <c:v>1.477495</c:v>
                </c:pt>
                <c:pt idx="9">
                  <c:v>1.443436</c:v>
                </c:pt>
                <c:pt idx="10">
                  <c:v>2.033535</c:v>
                </c:pt>
                <c:pt idx="11">
                  <c:v>4.848498</c:v>
                </c:pt>
                <c:pt idx="12">
                  <c:v>2.238182</c:v>
                </c:pt>
                <c:pt idx="13">
                  <c:v>1.154706</c:v>
                </c:pt>
                <c:pt idx="14">
                  <c:v>1.333647</c:v>
                </c:pt>
                <c:pt idx="15">
                  <c:v>1.111939</c:v>
                </c:pt>
                <c:pt idx="16">
                  <c:v>1.501159</c:v>
                </c:pt>
                <c:pt idx="17">
                  <c:v>1.522468</c:v>
                </c:pt>
                <c:pt idx="18">
                  <c:v>1.418281</c:v>
                </c:pt>
                <c:pt idx="19">
                  <c:v>1.073989</c:v>
                </c:pt>
                <c:pt idx="20">
                  <c:v>1.370259</c:v>
                </c:pt>
                <c:pt idx="21">
                  <c:v>1.623115</c:v>
                </c:pt>
                <c:pt idx="22">
                  <c:v>1.70606</c:v>
                </c:pt>
                <c:pt idx="23">
                  <c:v>4.15237</c:v>
                </c:pt>
                <c:pt idx="24">
                  <c:v>1.370293</c:v>
                </c:pt>
                <c:pt idx="25">
                  <c:v>1.033539</c:v>
                </c:pt>
                <c:pt idx="26">
                  <c:v>1.106302</c:v>
                </c:pt>
                <c:pt idx="27">
                  <c:v>1.152164</c:v>
                </c:pt>
                <c:pt idx="28">
                  <c:v>1.381378</c:v>
                </c:pt>
                <c:pt idx="29">
                  <c:v>1.412737</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85317</c:v>
                </c:pt>
                <c:pt idx="1">
                  <c:v>0.076216</c:v>
                </c:pt>
                <c:pt idx="2">
                  <c:v>0.081545</c:v>
                </c:pt>
                <c:pt idx="3">
                  <c:v>0.088</c:v>
                </c:pt>
                <c:pt idx="4">
                  <c:v>0.101482</c:v>
                </c:pt>
                <c:pt idx="5">
                  <c:v>0.115144</c:v>
                </c:pt>
                <c:pt idx="6">
                  <c:v>0.096519</c:v>
                </c:pt>
                <c:pt idx="7">
                  <c:v>0.085086</c:v>
                </c:pt>
                <c:pt idx="8">
                  <c:v>0.090143</c:v>
                </c:pt>
                <c:pt idx="9">
                  <c:v>0.089311</c:v>
                </c:pt>
                <c:pt idx="10">
                  <c:v>0.089926</c:v>
                </c:pt>
                <c:pt idx="11">
                  <c:v>0.163941</c:v>
                </c:pt>
                <c:pt idx="12">
                  <c:v>0.115862</c:v>
                </c:pt>
                <c:pt idx="13">
                  <c:v>0.080029</c:v>
                </c:pt>
                <c:pt idx="14">
                  <c:v>0.094229</c:v>
                </c:pt>
                <c:pt idx="15">
                  <c:v>0.078566</c:v>
                </c:pt>
                <c:pt idx="16">
                  <c:v>0.100316</c:v>
                </c:pt>
                <c:pt idx="17">
                  <c:v>0.103954</c:v>
                </c:pt>
                <c:pt idx="18">
                  <c:v>0.091984</c:v>
                </c:pt>
                <c:pt idx="19">
                  <c:v>0.075875</c:v>
                </c:pt>
                <c:pt idx="20">
                  <c:v>0.089757</c:v>
                </c:pt>
                <c:pt idx="21">
                  <c:v>0.090738</c:v>
                </c:pt>
                <c:pt idx="22">
                  <c:v>0.090096</c:v>
                </c:pt>
                <c:pt idx="23">
                  <c:v>0.138002</c:v>
                </c:pt>
                <c:pt idx="24">
                  <c:v>0.074011</c:v>
                </c:pt>
                <c:pt idx="25">
                  <c:v>0.063336</c:v>
                </c:pt>
                <c:pt idx="26">
                  <c:v>0.071219</c:v>
                </c:pt>
                <c:pt idx="27">
                  <c:v>0.075614</c:v>
                </c:pt>
                <c:pt idx="28">
                  <c:v>0.086714</c:v>
                </c:pt>
                <c:pt idx="29">
                  <c:v>0.088502</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1745</c:v>
                </c:pt>
                <c:pt idx="1">
                  <c:v>0.001833</c:v>
                </c:pt>
                <c:pt idx="2">
                  <c:v>0.002872</c:v>
                </c:pt>
                <c:pt idx="3">
                  <c:v>0.002594</c:v>
                </c:pt>
                <c:pt idx="4">
                  <c:v>0.003876</c:v>
                </c:pt>
                <c:pt idx="5">
                  <c:v>0.004565</c:v>
                </c:pt>
                <c:pt idx="6">
                  <c:v>0.003955</c:v>
                </c:pt>
                <c:pt idx="7">
                  <c:v>0.003462</c:v>
                </c:pt>
                <c:pt idx="8">
                  <c:v>0.004925</c:v>
                </c:pt>
                <c:pt idx="9">
                  <c:v>0.004004</c:v>
                </c:pt>
                <c:pt idx="10">
                  <c:v>0.004739</c:v>
                </c:pt>
                <c:pt idx="11">
                  <c:v>0.019334</c:v>
                </c:pt>
                <c:pt idx="12">
                  <c:v>0.017932</c:v>
                </c:pt>
                <c:pt idx="13">
                  <c:v>0.010048</c:v>
                </c:pt>
                <c:pt idx="14">
                  <c:v>0.0117</c:v>
                </c:pt>
                <c:pt idx="15">
                  <c:v>0.009378</c:v>
                </c:pt>
                <c:pt idx="16">
                  <c:v>0.010623</c:v>
                </c:pt>
                <c:pt idx="17">
                  <c:v>0.011724</c:v>
                </c:pt>
                <c:pt idx="18">
                  <c:v>0.010779</c:v>
                </c:pt>
                <c:pt idx="19">
                  <c:v>0.010104</c:v>
                </c:pt>
                <c:pt idx="20">
                  <c:v>0.011289</c:v>
                </c:pt>
                <c:pt idx="21">
                  <c:v>0.01118</c:v>
                </c:pt>
                <c:pt idx="22">
                  <c:v>0.012683</c:v>
                </c:pt>
                <c:pt idx="23">
                  <c:v>0.031402</c:v>
                </c:pt>
                <c:pt idx="24">
                  <c:v>0.026251</c:v>
                </c:pt>
                <c:pt idx="25">
                  <c:v>0.018426</c:v>
                </c:pt>
                <c:pt idx="26">
                  <c:v>0.01711</c:v>
                </c:pt>
                <c:pt idx="27">
                  <c:v>0.016531</c:v>
                </c:pt>
                <c:pt idx="28">
                  <c:v>0.017905</c:v>
                </c:pt>
                <c:pt idx="29">
                  <c:v>0.021646</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1.811422</c:v>
                </c:pt>
                <c:pt idx="1">
                  <c:v>1.387209</c:v>
                </c:pt>
                <c:pt idx="2">
                  <c:v>1.558116</c:v>
                </c:pt>
                <c:pt idx="3">
                  <c:v>1.366492</c:v>
                </c:pt>
                <c:pt idx="4">
                  <c:v>1.572597</c:v>
                </c:pt>
                <c:pt idx="5">
                  <c:v>1.882439</c:v>
                </c:pt>
                <c:pt idx="6">
                  <c:v>1.58208</c:v>
                </c:pt>
                <c:pt idx="7">
                  <c:v>1.232769</c:v>
                </c:pt>
                <c:pt idx="8">
                  <c:v>1.572563</c:v>
                </c:pt>
                <c:pt idx="9">
                  <c:v>1.536751</c:v>
                </c:pt>
                <c:pt idx="10">
                  <c:v>2.1282</c:v>
                </c:pt>
                <c:pt idx="11">
                  <c:v>5.031773</c:v>
                </c:pt>
                <c:pt idx="12">
                  <c:v>2.371976</c:v>
                </c:pt>
                <c:pt idx="13">
                  <c:v>1.244783</c:v>
                </c:pt>
                <c:pt idx="14">
                  <c:v>1.439576</c:v>
                </c:pt>
                <c:pt idx="15">
                  <c:v>1.199883</c:v>
                </c:pt>
                <c:pt idx="16">
                  <c:v>1.612098</c:v>
                </c:pt>
                <c:pt idx="17">
                  <c:v>1.638146</c:v>
                </c:pt>
                <c:pt idx="18">
                  <c:v>1.521044</c:v>
                </c:pt>
                <c:pt idx="19">
                  <c:v>1.159968</c:v>
                </c:pt>
                <c:pt idx="20">
                  <c:v>1.471305</c:v>
                </c:pt>
                <c:pt idx="21">
                  <c:v>1.725033</c:v>
                </c:pt>
                <c:pt idx="22">
                  <c:v>1.808839</c:v>
                </c:pt>
                <c:pt idx="23">
                  <c:v>4.321774</c:v>
                </c:pt>
                <c:pt idx="24">
                  <c:v>1.470555</c:v>
                </c:pt>
                <c:pt idx="25">
                  <c:v>1.115301</c:v>
                </c:pt>
                <c:pt idx="26">
                  <c:v>1.194631</c:v>
                </c:pt>
                <c:pt idx="27">
                  <c:v>1.244309</c:v>
                </c:pt>
                <c:pt idx="28">
                  <c:v>1.485997</c:v>
                </c:pt>
                <c:pt idx="29">
                  <c:v>1.522885</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Champagnes</c:v>
                </c:pt>
              </c:strCache>
            </c:strRef>
          </c:tx>
          <c:spPr>
            <a:solidFill>
              <a:srgbClr val="00A097"/>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B$2:$B$31</c:f>
              <c:numCache>
                <c:formatCode>General</c:formatCode>
                <c:ptCount val="30"/>
                <c:pt idx="0">
                  <c:v>0.976542</c:v>
                </c:pt>
                <c:pt idx="1">
                  <c:v>0.659478</c:v>
                </c:pt>
                <c:pt idx="2">
                  <c:v>0.726159</c:v>
                </c:pt>
                <c:pt idx="3">
                  <c:v>0.65325</c:v>
                </c:pt>
                <c:pt idx="4">
                  <c:v>0.702128</c:v>
                </c:pt>
                <c:pt idx="5">
                  <c:v>0.834681</c:v>
                </c:pt>
                <c:pt idx="6">
                  <c:v>0.6562</c:v>
                </c:pt>
                <c:pt idx="7">
                  <c:v>0.422415</c:v>
                </c:pt>
                <c:pt idx="8">
                  <c:v>0.704661</c:v>
                </c:pt>
                <c:pt idx="9">
                  <c:v>0.699879</c:v>
                </c:pt>
                <c:pt idx="10">
                  <c:v>0.959536</c:v>
                </c:pt>
                <c:pt idx="11">
                  <c:v>2.570801</c:v>
                </c:pt>
                <c:pt idx="12">
                  <c:v>1.149421</c:v>
                </c:pt>
                <c:pt idx="13">
                  <c:v>0.567569</c:v>
                </c:pt>
                <c:pt idx="14">
                  <c:v>0.655079</c:v>
                </c:pt>
                <c:pt idx="15">
                  <c:v>0.541069</c:v>
                </c:pt>
                <c:pt idx="16">
                  <c:v>0.684034</c:v>
                </c:pt>
                <c:pt idx="17">
                  <c:v>0.73316</c:v>
                </c:pt>
                <c:pt idx="18">
                  <c:v>0.581947</c:v>
                </c:pt>
                <c:pt idx="19">
                  <c:v>0.394627</c:v>
                </c:pt>
                <c:pt idx="20">
                  <c:v>0.633411</c:v>
                </c:pt>
                <c:pt idx="21">
                  <c:v>0.722099</c:v>
                </c:pt>
                <c:pt idx="22">
                  <c:v>0.803195</c:v>
                </c:pt>
                <c:pt idx="23">
                  <c:v>2.152185</c:v>
                </c:pt>
                <c:pt idx="24">
                  <c:v>0.69249</c:v>
                </c:pt>
                <c:pt idx="25">
                  <c:v>0.571823</c:v>
                </c:pt>
                <c:pt idx="26">
                  <c:v>0.579951</c:v>
                </c:pt>
                <c:pt idx="27">
                  <c:v>0.526839</c:v>
                </c:pt>
                <c:pt idx="28">
                  <c:v>0.618229</c:v>
                </c:pt>
                <c:pt idx="29">
                  <c:v>0.698277</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Mousseux</c:v>
                </c:pt>
              </c:strCache>
            </c:strRef>
          </c:tx>
          <c:spPr>
            <a:solidFill>
              <a:srgbClr val="7ECAC4"/>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C$2:$C$31</c:f>
              <c:numCache>
                <c:formatCode>General</c:formatCode>
                <c:ptCount val="30"/>
                <c:pt idx="0">
                  <c:v>0.053172</c:v>
                </c:pt>
                <c:pt idx="1">
                  <c:v>0.045402</c:v>
                </c:pt>
                <c:pt idx="2">
                  <c:v>0.052661</c:v>
                </c:pt>
                <c:pt idx="3">
                  <c:v>0.055878</c:v>
                </c:pt>
                <c:pt idx="4">
                  <c:v>0.056702</c:v>
                </c:pt>
                <c:pt idx="5">
                  <c:v>0.065156</c:v>
                </c:pt>
                <c:pt idx="6">
                  <c:v>0.051589</c:v>
                </c:pt>
                <c:pt idx="7">
                  <c:v>0.03977</c:v>
                </c:pt>
                <c:pt idx="8">
                  <c:v>0.052521</c:v>
                </c:pt>
                <c:pt idx="9">
                  <c:v>0.050384</c:v>
                </c:pt>
                <c:pt idx="10">
                  <c:v>0.056586</c:v>
                </c:pt>
                <c:pt idx="11">
                  <c:v>0.105073</c:v>
                </c:pt>
                <c:pt idx="12">
                  <c:v>0.072267</c:v>
                </c:pt>
                <c:pt idx="13">
                  <c:v>0.048017</c:v>
                </c:pt>
                <c:pt idx="14">
                  <c:v>0.055028</c:v>
                </c:pt>
                <c:pt idx="15">
                  <c:v>0.049714</c:v>
                </c:pt>
                <c:pt idx="16">
                  <c:v>0.05962</c:v>
                </c:pt>
                <c:pt idx="17">
                  <c:v>0.062384</c:v>
                </c:pt>
                <c:pt idx="18">
                  <c:v>0.054531</c:v>
                </c:pt>
                <c:pt idx="19">
                  <c:v>0.036743</c:v>
                </c:pt>
                <c:pt idx="20">
                  <c:v>0.053065</c:v>
                </c:pt>
                <c:pt idx="21">
                  <c:v>0.05703</c:v>
                </c:pt>
                <c:pt idx="22">
                  <c:v>0.059017</c:v>
                </c:pt>
                <c:pt idx="23">
                  <c:v>0.08792</c:v>
                </c:pt>
                <c:pt idx="24">
                  <c:v>0.051501</c:v>
                </c:pt>
                <c:pt idx="25">
                  <c:v>0.044826</c:v>
                </c:pt>
                <c:pt idx="26">
                  <c:v>0.052534</c:v>
                </c:pt>
                <c:pt idx="27">
                  <c:v>0.050946</c:v>
                </c:pt>
                <c:pt idx="28">
                  <c:v>0.056897</c:v>
                </c:pt>
                <c:pt idx="29">
                  <c:v>0.058053</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Effervescents Sans Alcool</c:v>
                </c:pt>
              </c:strCache>
            </c:strRef>
          </c:tx>
          <c:spPr>
            <a:solidFill>
              <a:srgbClr val="B2DFDC"/>
            </a:solidFill>
            <a:ln>
              <a:noFill/>
            </a:ln>
            <a:effectLst/>
          </c:spPr>
          <c:invertIfNegative val="0"/>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D$2:$D$31</c:f>
              <c:numCache>
                <c:formatCode>General</c:formatCode>
                <c:ptCount val="30"/>
                <c:pt idx="0">
                  <c:v>0.000779</c:v>
                </c:pt>
                <c:pt idx="1">
                  <c:v>0.000814</c:v>
                </c:pt>
                <c:pt idx="2">
                  <c:v>0.00093</c:v>
                </c:pt>
                <c:pt idx="3">
                  <c:v>0.001342</c:v>
                </c:pt>
                <c:pt idx="4">
                  <c:v>0.002282</c:v>
                </c:pt>
                <c:pt idx="5">
                  <c:v>0.002862</c:v>
                </c:pt>
                <c:pt idx="6">
                  <c:v>0.001705</c:v>
                </c:pt>
                <c:pt idx="7">
                  <c:v>0.001601</c:v>
                </c:pt>
                <c:pt idx="8">
                  <c:v>0.002832</c:v>
                </c:pt>
                <c:pt idx="9">
                  <c:v>0.00186</c:v>
                </c:pt>
                <c:pt idx="10">
                  <c:v>0.002133</c:v>
                </c:pt>
                <c:pt idx="11">
                  <c:v>0.008857</c:v>
                </c:pt>
                <c:pt idx="12">
                  <c:v>0.008954</c:v>
                </c:pt>
                <c:pt idx="13">
                  <c:v>0.00448</c:v>
                </c:pt>
                <c:pt idx="14">
                  <c:v>0.006221</c:v>
                </c:pt>
                <c:pt idx="15">
                  <c:v>0.004729</c:v>
                </c:pt>
                <c:pt idx="16">
                  <c:v>0.00493</c:v>
                </c:pt>
                <c:pt idx="17">
                  <c:v>0.005153</c:v>
                </c:pt>
                <c:pt idx="18">
                  <c:v>0.004606</c:v>
                </c:pt>
                <c:pt idx="19">
                  <c:v>0.0029</c:v>
                </c:pt>
                <c:pt idx="20">
                  <c:v>0.005314</c:v>
                </c:pt>
                <c:pt idx="21">
                  <c:v>0.004942</c:v>
                </c:pt>
                <c:pt idx="22">
                  <c:v>0.005256</c:v>
                </c:pt>
                <c:pt idx="23">
                  <c:v>0.016669</c:v>
                </c:pt>
                <c:pt idx="24">
                  <c:v>0.013251</c:v>
                </c:pt>
                <c:pt idx="25">
                  <c:v>0.009891</c:v>
                </c:pt>
                <c:pt idx="26">
                  <c:v>0.00853</c:v>
                </c:pt>
                <c:pt idx="27">
                  <c:v>0.009423</c:v>
                </c:pt>
                <c:pt idx="28">
                  <c:v>0.008964</c:v>
                </c:pt>
                <c:pt idx="29">
                  <c:v>0.01059</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1</c:f>
              <c:strCache>
                <c:ptCount val="3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pt idx="27">
                  <c:v>Apr-25</c:v>
                </c:pt>
                <c:pt idx="28">
                  <c:v>May-25</c:v>
                </c:pt>
                <c:pt idx="29">
                  <c:v>Jun-25</c:v>
                </c:pt>
              </c:strCache>
            </c:strRef>
          </c:cat>
          <c:val>
            <c:numRef>
              <c:f>Sheet1!$E$2:$E$31</c:f>
              <c:numCache>
                <c:formatCode>General</c:formatCode>
                <c:ptCount val="30"/>
                <c:pt idx="0">
                  <c:v>1.030493</c:v>
                </c:pt>
                <c:pt idx="1">
                  <c:v>0.705694</c:v>
                </c:pt>
                <c:pt idx="2">
                  <c:v>0.77975</c:v>
                </c:pt>
                <c:pt idx="3">
                  <c:v>0.71047</c:v>
                </c:pt>
                <c:pt idx="4">
                  <c:v>0.761112</c:v>
                </c:pt>
                <c:pt idx="5">
                  <c:v>0.902699</c:v>
                </c:pt>
                <c:pt idx="6">
                  <c:v>0.709494</c:v>
                </c:pt>
                <c:pt idx="7">
                  <c:v>0.463786</c:v>
                </c:pt>
                <c:pt idx="8">
                  <c:v>0.760014</c:v>
                </c:pt>
                <c:pt idx="9">
                  <c:v>0.752123</c:v>
                </c:pt>
                <c:pt idx="10">
                  <c:v>1.018255</c:v>
                </c:pt>
                <c:pt idx="11">
                  <c:v>2.684731</c:v>
                </c:pt>
                <c:pt idx="12">
                  <c:v>1.230642</c:v>
                </c:pt>
                <c:pt idx="13">
                  <c:v>0.620066</c:v>
                </c:pt>
                <c:pt idx="14">
                  <c:v>0.716328</c:v>
                </c:pt>
                <c:pt idx="15">
                  <c:v>0.595512</c:v>
                </c:pt>
                <c:pt idx="16">
                  <c:v>0.748584</c:v>
                </c:pt>
                <c:pt idx="17">
                  <c:v>0.800697</c:v>
                </c:pt>
                <c:pt idx="18">
                  <c:v>0.641084</c:v>
                </c:pt>
                <c:pt idx="19">
                  <c:v>0.43427</c:v>
                </c:pt>
                <c:pt idx="20">
                  <c:v>0.69179</c:v>
                </c:pt>
                <c:pt idx="21">
                  <c:v>0.784071</c:v>
                </c:pt>
                <c:pt idx="22">
                  <c:v>0.867468</c:v>
                </c:pt>
                <c:pt idx="23">
                  <c:v>2.256774</c:v>
                </c:pt>
                <c:pt idx="24">
                  <c:v>0.757242</c:v>
                </c:pt>
                <c:pt idx="25">
                  <c:v>0.62654</c:v>
                </c:pt>
                <c:pt idx="26">
                  <c:v>0.641015</c:v>
                </c:pt>
                <c:pt idx="27">
                  <c:v>0.587208</c:v>
                </c:pt>
                <c:pt idx="28">
                  <c:v>0.68409</c:v>
                </c:pt>
                <c:pt idx="29">
                  <c:v>0.7669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9,0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5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2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9072</c:v>
                </c:pt>
                <c:pt idx="1">
                  <c:v>68912</c:v>
                </c:pt>
                <c:pt idx="2">
                  <c:v>49660</c:v>
                </c:pt>
                <c:pt idx="3">
                  <c:v>31347</c:v>
                </c:pt>
                <c:pt idx="4">
                  <c:v>65894</c:v>
                </c:pt>
                <c:pt idx="5">
                  <c:v>62980</c:v>
                </c:pt>
                <c:pt idx="6">
                  <c:v>155895</c:v>
                </c:pt>
                <c:pt idx="7">
                  <c:v>106044</c:v>
                </c:pt>
                <c:pt idx="8">
                  <c:v>62070</c:v>
                </c:pt>
                <c:pt idx="9">
                  <c:v>72340</c:v>
                </c:pt>
                <c:pt idx="10">
                  <c:v>55531</c:v>
                </c:pt>
                <c:pt idx="11">
                  <c:v>51094</c:v>
                </c:pt>
                <c:pt idx="12">
                  <c:v>81730</c:v>
                </c:pt>
                <c:pt idx="13">
                  <c:v>75593</c:v>
                </c:pt>
                <c:pt idx="14">
                  <c:v>56715</c:v>
                </c:pt>
                <c:pt idx="15">
                  <c:v>34945</c:v>
                </c:pt>
                <c:pt idx="16">
                  <c:v>68209</c:v>
                </c:pt>
                <c:pt idx="17">
                  <c:v>60641</c:v>
                </c:pt>
                <c:pt idx="18">
                  <c:v>104583</c:v>
                </c:pt>
                <c:pt idx="19">
                  <c:v>86640</c:v>
                </c:pt>
                <c:pt idx="20">
                  <c:v>36451</c:v>
                </c:pt>
                <c:pt idx="21">
                  <c:v>42567</c:v>
                </c:pt>
                <c:pt idx="22">
                  <c:v>53362</c:v>
                </c:pt>
                <c:pt idx="23">
                  <c:v>63262</c:v>
                </c:pt>
                <c:pt idx="24">
                  <c:v>722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8.7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9.42</c:v>
                </c:pt>
                <c:pt idx="1">
                  <c:v>39.36</c:v>
                </c:pt>
                <c:pt idx="2">
                  <c:v>39.54</c:v>
                </c:pt>
                <c:pt idx="3">
                  <c:v>41.74</c:v>
                </c:pt>
                <c:pt idx="4">
                  <c:v>40.68</c:v>
                </c:pt>
                <c:pt idx="5">
                  <c:v>38.19</c:v>
                </c:pt>
                <c:pt idx="6">
                  <c:v>36.78</c:v>
                </c:pt>
                <c:pt idx="7">
                  <c:v>38.28</c:v>
                </c:pt>
                <c:pt idx="8">
                  <c:v>40.23</c:v>
                </c:pt>
                <c:pt idx="9">
                  <c:v>39.19</c:v>
                </c:pt>
                <c:pt idx="10">
                  <c:v>41.94</c:v>
                </c:pt>
                <c:pt idx="11">
                  <c:v>41.64</c:v>
                </c:pt>
                <c:pt idx="12">
                  <c:v>41.74</c:v>
                </c:pt>
                <c:pt idx="13">
                  <c:v>39.49</c:v>
                </c:pt>
                <c:pt idx="14">
                  <c:v>39.3</c:v>
                </c:pt>
                <c:pt idx="15">
                  <c:v>41.4</c:v>
                </c:pt>
                <c:pt idx="16">
                  <c:v>40.92</c:v>
                </c:pt>
                <c:pt idx="17">
                  <c:v>41.82</c:v>
                </c:pt>
                <c:pt idx="18">
                  <c:v>38.32</c:v>
                </c:pt>
                <c:pt idx="19">
                  <c:v>41.2</c:v>
                </c:pt>
                <c:pt idx="20">
                  <c:v>41.66</c:v>
                </c:pt>
                <c:pt idx="21">
                  <c:v>41.17</c:v>
                </c:pt>
                <c:pt idx="22">
                  <c:v>39.94</c:v>
                </c:pt>
                <c:pt idx="23">
                  <c:v>38.11</c:v>
                </c:pt>
                <c:pt idx="24">
                  <c:v>38.7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8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3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0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6806</c:v>
                </c:pt>
                <c:pt idx="1">
                  <c:v>49375</c:v>
                </c:pt>
                <c:pt idx="2">
                  <c:v>35079</c:v>
                </c:pt>
                <c:pt idx="3">
                  <c:v>26779</c:v>
                </c:pt>
                <c:pt idx="4">
                  <c:v>41275</c:v>
                </c:pt>
                <c:pt idx="5">
                  <c:v>48842</c:v>
                </c:pt>
                <c:pt idx="6">
                  <c:v>143258</c:v>
                </c:pt>
                <c:pt idx="7">
                  <c:v>90331</c:v>
                </c:pt>
                <c:pt idx="8">
                  <c:v>42888</c:v>
                </c:pt>
                <c:pt idx="9">
                  <c:v>53466</c:v>
                </c:pt>
                <c:pt idx="10">
                  <c:v>37316</c:v>
                </c:pt>
                <c:pt idx="11">
                  <c:v>35189</c:v>
                </c:pt>
                <c:pt idx="12">
                  <c:v>58508</c:v>
                </c:pt>
                <c:pt idx="13">
                  <c:v>52307</c:v>
                </c:pt>
                <c:pt idx="14">
                  <c:v>36270</c:v>
                </c:pt>
                <c:pt idx="15">
                  <c:v>24972</c:v>
                </c:pt>
                <c:pt idx="16">
                  <c:v>47064</c:v>
                </c:pt>
                <c:pt idx="17">
                  <c:v>43475</c:v>
                </c:pt>
                <c:pt idx="18">
                  <c:v>91684</c:v>
                </c:pt>
                <c:pt idx="19">
                  <c:v>63544</c:v>
                </c:pt>
                <c:pt idx="20">
                  <c:v>27766</c:v>
                </c:pt>
                <c:pt idx="21">
                  <c:v>33847</c:v>
                </c:pt>
                <c:pt idx="22">
                  <c:v>42059</c:v>
                </c:pt>
                <c:pt idx="23">
                  <c:v>45312</c:v>
                </c:pt>
                <c:pt idx="24">
                  <c:v>560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0.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9.0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0.34</c:v>
                </c:pt>
                <c:pt idx="1">
                  <c:v>39.34</c:v>
                </c:pt>
                <c:pt idx="2">
                  <c:v>38.98</c:v>
                </c:pt>
                <c:pt idx="3">
                  <c:v>41.78</c:v>
                </c:pt>
                <c:pt idx="4">
                  <c:v>40.91</c:v>
                </c:pt>
                <c:pt idx="5">
                  <c:v>38.01</c:v>
                </c:pt>
                <c:pt idx="6">
                  <c:v>36.63</c:v>
                </c:pt>
                <c:pt idx="7">
                  <c:v>38.11</c:v>
                </c:pt>
                <c:pt idx="8">
                  <c:v>40.5</c:v>
                </c:pt>
                <c:pt idx="9">
                  <c:v>39.08</c:v>
                </c:pt>
                <c:pt idx="10">
                  <c:v>42.26</c:v>
                </c:pt>
                <c:pt idx="11">
                  <c:v>41.94</c:v>
                </c:pt>
                <c:pt idx="12">
                  <c:v>42.24</c:v>
                </c:pt>
                <c:pt idx="13">
                  <c:v>39.48</c:v>
                </c:pt>
                <c:pt idx="14">
                  <c:v>39.55</c:v>
                </c:pt>
                <c:pt idx="15">
                  <c:v>41.48</c:v>
                </c:pt>
                <c:pt idx="16">
                  <c:v>41.25</c:v>
                </c:pt>
                <c:pt idx="17">
                  <c:v>41.92</c:v>
                </c:pt>
                <c:pt idx="18">
                  <c:v>38.28</c:v>
                </c:pt>
                <c:pt idx="19">
                  <c:v>41.24</c:v>
                </c:pt>
                <c:pt idx="20">
                  <c:v>41.75</c:v>
                </c:pt>
                <c:pt idx="21">
                  <c:v>41.38</c:v>
                </c:pt>
                <c:pt idx="22">
                  <c:v>40.36</c:v>
                </c:pt>
                <c:pt idx="23">
                  <c:v>38.76</c:v>
                </c:pt>
                <c:pt idx="24">
                  <c:v>39.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0,4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4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0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0432</c:v>
                </c:pt>
                <c:pt idx="1">
                  <c:v>31805</c:v>
                </c:pt>
                <c:pt idx="2">
                  <c:v>17833</c:v>
                </c:pt>
                <c:pt idx="3">
                  <c:v>130478</c:v>
                </c:pt>
                <c:pt idx="4">
                  <c:v>43591</c:v>
                </c:pt>
                <c:pt idx="5">
                  <c:v>90594</c:v>
                </c:pt>
                <c:pt idx="6">
                  <c:v>251381</c:v>
                </c:pt>
                <c:pt idx="7">
                  <c:v>138011</c:v>
                </c:pt>
                <c:pt idx="8">
                  <c:v>78596</c:v>
                </c:pt>
                <c:pt idx="9">
                  <c:v>47287</c:v>
                </c:pt>
                <c:pt idx="10">
                  <c:v>116824</c:v>
                </c:pt>
                <c:pt idx="11">
                  <c:v>65121</c:v>
                </c:pt>
                <c:pt idx="12">
                  <c:v>56909</c:v>
                </c:pt>
                <c:pt idx="13">
                  <c:v>23435</c:v>
                </c:pt>
                <c:pt idx="14">
                  <c:v>14169</c:v>
                </c:pt>
                <c:pt idx="15">
                  <c:v>70228</c:v>
                </c:pt>
                <c:pt idx="16">
                  <c:v>41600</c:v>
                </c:pt>
                <c:pt idx="17">
                  <c:v>85175</c:v>
                </c:pt>
                <c:pt idx="18">
                  <c:v>249103</c:v>
                </c:pt>
                <c:pt idx="19">
                  <c:v>100987</c:v>
                </c:pt>
                <c:pt idx="20">
                  <c:v>113944</c:v>
                </c:pt>
                <c:pt idx="21">
                  <c:v>63264</c:v>
                </c:pt>
                <c:pt idx="22">
                  <c:v>87221</c:v>
                </c:pt>
                <c:pt idx="23">
                  <c:v>100944</c:v>
                </c:pt>
                <c:pt idx="24">
                  <c:v>10901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3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9.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5.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32</c:v>
                </c:pt>
                <c:pt idx="1">
                  <c:v>49.39</c:v>
                </c:pt>
                <c:pt idx="2">
                  <c:v>49.81</c:v>
                </c:pt>
                <c:pt idx="3">
                  <c:v>39.79</c:v>
                </c:pt>
                <c:pt idx="4">
                  <c:v>45.79</c:v>
                </c:pt>
                <c:pt idx="5">
                  <c:v>40.92</c:v>
                </c:pt>
                <c:pt idx="6">
                  <c:v>38.67</c:v>
                </c:pt>
                <c:pt idx="7">
                  <c:v>41.27</c:v>
                </c:pt>
                <c:pt idx="8">
                  <c:v>38.21</c:v>
                </c:pt>
                <c:pt idx="9">
                  <c:v>44.95</c:v>
                </c:pt>
                <c:pt idx="10">
                  <c:v>39.05</c:v>
                </c:pt>
                <c:pt idx="11">
                  <c:v>42.42</c:v>
                </c:pt>
                <c:pt idx="12">
                  <c:v>46.88</c:v>
                </c:pt>
                <c:pt idx="13">
                  <c:v>49.23</c:v>
                </c:pt>
                <c:pt idx="14">
                  <c:v>49.89</c:v>
                </c:pt>
                <c:pt idx="15">
                  <c:v>42.54</c:v>
                </c:pt>
                <c:pt idx="16">
                  <c:v>45.37</c:v>
                </c:pt>
                <c:pt idx="17">
                  <c:v>43.41</c:v>
                </c:pt>
                <c:pt idx="18">
                  <c:v>41.68</c:v>
                </c:pt>
                <c:pt idx="19">
                  <c:v>49.8</c:v>
                </c:pt>
                <c:pt idx="20">
                  <c:v>41.48</c:v>
                </c:pt>
                <c:pt idx="21">
                  <c:v>48.15</c:v>
                </c:pt>
                <c:pt idx="22">
                  <c:v>44.36</c:v>
                </c:pt>
                <c:pt idx="23">
                  <c:v>45.19</c:v>
                </c:pt>
                <c:pt idx="24">
                  <c:v>45.8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7,4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9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7,5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7468</c:v>
                </c:pt>
                <c:pt idx="1">
                  <c:v>12825</c:v>
                </c:pt>
                <c:pt idx="2">
                  <c:v>7425</c:v>
                </c:pt>
                <c:pt idx="3">
                  <c:v>43578</c:v>
                </c:pt>
                <c:pt idx="4">
                  <c:v>16262</c:v>
                </c:pt>
                <c:pt idx="5">
                  <c:v>30259</c:v>
                </c:pt>
                <c:pt idx="6">
                  <c:v>121263</c:v>
                </c:pt>
                <c:pt idx="7">
                  <c:v>51024</c:v>
                </c:pt>
                <c:pt idx="8">
                  <c:v>31157</c:v>
                </c:pt>
                <c:pt idx="9">
                  <c:v>17971</c:v>
                </c:pt>
                <c:pt idx="10">
                  <c:v>49586</c:v>
                </c:pt>
                <c:pt idx="11">
                  <c:v>21526</c:v>
                </c:pt>
                <c:pt idx="12">
                  <c:v>20093</c:v>
                </c:pt>
                <c:pt idx="13">
                  <c:v>10919</c:v>
                </c:pt>
                <c:pt idx="14">
                  <c:v>6953</c:v>
                </c:pt>
                <c:pt idx="15">
                  <c:v>23944</c:v>
                </c:pt>
                <c:pt idx="16">
                  <c:v>14141</c:v>
                </c:pt>
                <c:pt idx="17">
                  <c:v>40170</c:v>
                </c:pt>
                <c:pt idx="18">
                  <c:v>114359</c:v>
                </c:pt>
                <c:pt idx="19">
                  <c:v>41632</c:v>
                </c:pt>
                <c:pt idx="20">
                  <c:v>38121</c:v>
                </c:pt>
                <c:pt idx="21">
                  <c:v>19628</c:v>
                </c:pt>
                <c:pt idx="22">
                  <c:v>30472</c:v>
                </c:pt>
                <c:pt idx="23">
                  <c:v>37944</c:v>
                </c:pt>
                <c:pt idx="24">
                  <c:v>3750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5.4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48</c:v>
                </c:pt>
                <c:pt idx="1">
                  <c:v>48.4</c:v>
                </c:pt>
                <c:pt idx="2">
                  <c:v>48.21</c:v>
                </c:pt>
                <c:pt idx="3">
                  <c:v>39.62</c:v>
                </c:pt>
                <c:pt idx="4">
                  <c:v>46.2</c:v>
                </c:pt>
                <c:pt idx="5">
                  <c:v>40.51</c:v>
                </c:pt>
                <c:pt idx="6">
                  <c:v>38.73</c:v>
                </c:pt>
                <c:pt idx="7">
                  <c:v>40.79</c:v>
                </c:pt>
                <c:pt idx="8">
                  <c:v>36.74</c:v>
                </c:pt>
                <c:pt idx="9">
                  <c:v>44.82</c:v>
                </c:pt>
                <c:pt idx="10">
                  <c:v>37.94</c:v>
                </c:pt>
                <c:pt idx="11">
                  <c:v>42.46</c:v>
                </c:pt>
                <c:pt idx="12">
                  <c:v>47.5</c:v>
                </c:pt>
                <c:pt idx="13">
                  <c:v>48.96</c:v>
                </c:pt>
                <c:pt idx="14">
                  <c:v>48.96</c:v>
                </c:pt>
                <c:pt idx="15">
                  <c:v>42.3</c:v>
                </c:pt>
                <c:pt idx="16">
                  <c:v>45.04</c:v>
                </c:pt>
                <c:pt idx="17">
                  <c:v>42.69</c:v>
                </c:pt>
                <c:pt idx="18">
                  <c:v>41.72</c:v>
                </c:pt>
                <c:pt idx="19">
                  <c:v>47.2</c:v>
                </c:pt>
                <c:pt idx="20">
                  <c:v>41.85</c:v>
                </c:pt>
                <c:pt idx="21">
                  <c:v>47.76</c:v>
                </c:pt>
                <c:pt idx="22">
                  <c:v>44.55</c:v>
                </c:pt>
                <c:pt idx="23">
                  <c:v>44.9</c:v>
                </c:pt>
                <c:pt idx="24">
                  <c:v>45.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0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3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5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005</c:v>
                </c:pt>
                <c:pt idx="1">
                  <c:v>11471</c:v>
                </c:pt>
                <c:pt idx="2">
                  <c:v>6402</c:v>
                </c:pt>
                <c:pt idx="3">
                  <c:v>41734</c:v>
                </c:pt>
                <c:pt idx="4">
                  <c:v>15185</c:v>
                </c:pt>
                <c:pt idx="5">
                  <c:v>24356</c:v>
                </c:pt>
                <c:pt idx="6">
                  <c:v>66764</c:v>
                </c:pt>
                <c:pt idx="7">
                  <c:v>31032</c:v>
                </c:pt>
                <c:pt idx="8">
                  <c:v>13021</c:v>
                </c:pt>
                <c:pt idx="9">
                  <c:v>10976</c:v>
                </c:pt>
                <c:pt idx="10">
                  <c:v>25329</c:v>
                </c:pt>
                <c:pt idx="11">
                  <c:v>17191</c:v>
                </c:pt>
                <c:pt idx="12">
                  <c:v>11996</c:v>
                </c:pt>
                <c:pt idx="13">
                  <c:v>8332</c:v>
                </c:pt>
                <c:pt idx="14">
                  <c:v>3247</c:v>
                </c:pt>
                <c:pt idx="15">
                  <c:v>20716</c:v>
                </c:pt>
                <c:pt idx="16">
                  <c:v>13086</c:v>
                </c:pt>
                <c:pt idx="17">
                  <c:v>29652</c:v>
                </c:pt>
                <c:pt idx="18">
                  <c:v>65128</c:v>
                </c:pt>
                <c:pt idx="19">
                  <c:v>23535</c:v>
                </c:pt>
                <c:pt idx="20">
                  <c:v>28698</c:v>
                </c:pt>
                <c:pt idx="21">
                  <c:v>16529</c:v>
                </c:pt>
                <c:pt idx="22">
                  <c:v>20970</c:v>
                </c:pt>
                <c:pt idx="23">
                  <c:v>24457</c:v>
                </c:pt>
                <c:pt idx="24">
                  <c:v>335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7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9.0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7.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75</c:v>
                </c:pt>
                <c:pt idx="1">
                  <c:v>50.53</c:v>
                </c:pt>
                <c:pt idx="2">
                  <c:v>49.25</c:v>
                </c:pt>
                <c:pt idx="3">
                  <c:v>39.56</c:v>
                </c:pt>
                <c:pt idx="4">
                  <c:v>44.66</c:v>
                </c:pt>
                <c:pt idx="5">
                  <c:v>41.14</c:v>
                </c:pt>
                <c:pt idx="6">
                  <c:v>38.75</c:v>
                </c:pt>
                <c:pt idx="7">
                  <c:v>43.22</c:v>
                </c:pt>
                <c:pt idx="8">
                  <c:v>40.44</c:v>
                </c:pt>
                <c:pt idx="9">
                  <c:v>45.36</c:v>
                </c:pt>
                <c:pt idx="10">
                  <c:v>40.27</c:v>
                </c:pt>
                <c:pt idx="11">
                  <c:v>42.66</c:v>
                </c:pt>
                <c:pt idx="12">
                  <c:v>46.32</c:v>
                </c:pt>
                <c:pt idx="13">
                  <c:v>49.01</c:v>
                </c:pt>
                <c:pt idx="14">
                  <c:v>51.54</c:v>
                </c:pt>
                <c:pt idx="15">
                  <c:v>42.45</c:v>
                </c:pt>
                <c:pt idx="16">
                  <c:v>45.12</c:v>
                </c:pt>
                <c:pt idx="17">
                  <c:v>44.39</c:v>
                </c:pt>
                <c:pt idx="18">
                  <c:v>42.54</c:v>
                </c:pt>
                <c:pt idx="19">
                  <c:v>50.18</c:v>
                </c:pt>
                <c:pt idx="20">
                  <c:v>42.02</c:v>
                </c:pt>
                <c:pt idx="21">
                  <c:v>48.05</c:v>
                </c:pt>
                <c:pt idx="22">
                  <c:v>44.43</c:v>
                </c:pt>
                <c:pt idx="23">
                  <c:v>46.85</c:v>
                </c:pt>
                <c:pt idx="24">
                  <c:v>47.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667,9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80,0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733,9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667906</c:v>
                </c:pt>
                <c:pt idx="1">
                  <c:v>3565779</c:v>
                </c:pt>
                <c:pt idx="2">
                  <c:v>2061541</c:v>
                </c:pt>
                <c:pt idx="3">
                  <c:v>3811838</c:v>
                </c:pt>
                <c:pt idx="4">
                  <c:v>3861225</c:v>
                </c:pt>
                <c:pt idx="5">
                  <c:v>5231317</c:v>
                </c:pt>
                <c:pt idx="6">
                  <c:v>12697381</c:v>
                </c:pt>
                <c:pt idx="7">
                  <c:v>6077057</c:v>
                </c:pt>
                <c:pt idx="8">
                  <c:v>3049235</c:v>
                </c:pt>
                <c:pt idx="9">
                  <c:v>3591142</c:v>
                </c:pt>
                <c:pt idx="10">
                  <c:v>3017554</c:v>
                </c:pt>
                <c:pt idx="11">
                  <c:v>3647487</c:v>
                </c:pt>
                <c:pt idx="12">
                  <c:v>4056553</c:v>
                </c:pt>
                <c:pt idx="13">
                  <c:v>3080049</c:v>
                </c:pt>
                <c:pt idx="14">
                  <c:v>1827493</c:v>
                </c:pt>
                <c:pt idx="15">
                  <c:v>3436876</c:v>
                </c:pt>
                <c:pt idx="16">
                  <c:v>4053544</c:v>
                </c:pt>
                <c:pt idx="17">
                  <c:v>4386611</c:v>
                </c:pt>
                <c:pt idx="18">
                  <c:v>10421890</c:v>
                </c:pt>
                <c:pt idx="19">
                  <c:v>3648490</c:v>
                </c:pt>
                <c:pt idx="20">
                  <c:v>2790531</c:v>
                </c:pt>
                <c:pt idx="21">
                  <c:v>3104206</c:v>
                </c:pt>
                <c:pt idx="22">
                  <c:v>2975801</c:v>
                </c:pt>
                <c:pt idx="23">
                  <c:v>3450786</c:v>
                </c:pt>
                <c:pt idx="24">
                  <c:v>373397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7.5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7.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7.0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7.57</c:v>
                </c:pt>
                <c:pt idx="1">
                  <c:v>48.71</c:v>
                </c:pt>
                <c:pt idx="2">
                  <c:v>48.34</c:v>
                </c:pt>
                <c:pt idx="3">
                  <c:v>46.61</c:v>
                </c:pt>
                <c:pt idx="4">
                  <c:v>48.94</c:v>
                </c:pt>
                <c:pt idx="5">
                  <c:v>48.74</c:v>
                </c:pt>
                <c:pt idx="6">
                  <c:v>51.98</c:v>
                </c:pt>
                <c:pt idx="7">
                  <c:v>49.36</c:v>
                </c:pt>
                <c:pt idx="8">
                  <c:v>48.51</c:v>
                </c:pt>
                <c:pt idx="9">
                  <c:v>45.97</c:v>
                </c:pt>
                <c:pt idx="10">
                  <c:v>47.01</c:v>
                </c:pt>
                <c:pt idx="11">
                  <c:v>47.35</c:v>
                </c:pt>
                <c:pt idx="12">
                  <c:v>47.88</c:v>
                </c:pt>
                <c:pt idx="13">
                  <c:v>47.3</c:v>
                </c:pt>
                <c:pt idx="14">
                  <c:v>48.1</c:v>
                </c:pt>
                <c:pt idx="15">
                  <c:v>46.56</c:v>
                </c:pt>
                <c:pt idx="16">
                  <c:v>47.35</c:v>
                </c:pt>
                <c:pt idx="17">
                  <c:v>48.28</c:v>
                </c:pt>
                <c:pt idx="18">
                  <c:v>52.77</c:v>
                </c:pt>
                <c:pt idx="19">
                  <c:v>49.31</c:v>
                </c:pt>
                <c:pt idx="20">
                  <c:v>46.73</c:v>
                </c:pt>
                <c:pt idx="21">
                  <c:v>45.86</c:v>
                </c:pt>
                <c:pt idx="22">
                  <c:v>46.48</c:v>
                </c:pt>
                <c:pt idx="23">
                  <c:v>45.22</c:v>
                </c:pt>
                <c:pt idx="24">
                  <c:v>47.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0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6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020</c:v>
                </c:pt>
                <c:pt idx="1">
                  <c:v>2199</c:v>
                </c:pt>
                <c:pt idx="2">
                  <c:v>1431</c:v>
                </c:pt>
                <c:pt idx="3">
                  <c:v>7490</c:v>
                </c:pt>
                <c:pt idx="4">
                  <c:v>2467</c:v>
                </c:pt>
                <c:pt idx="5">
                  <c:v>6103</c:v>
                </c:pt>
                <c:pt idx="6">
                  <c:v>23398</c:v>
                </c:pt>
                <c:pt idx="7">
                  <c:v>5899</c:v>
                </c:pt>
                <c:pt idx="8">
                  <c:v>4922</c:v>
                </c:pt>
                <c:pt idx="9">
                  <c:v>2147</c:v>
                </c:pt>
                <c:pt idx="10">
                  <c:v>5506</c:v>
                </c:pt>
                <c:pt idx="11">
                  <c:v>4273</c:v>
                </c:pt>
                <c:pt idx="12">
                  <c:v>4053</c:v>
                </c:pt>
                <c:pt idx="13">
                  <c:v>2004</c:v>
                </c:pt>
                <c:pt idx="14">
                  <c:v>1473</c:v>
                </c:pt>
                <c:pt idx="15">
                  <c:v>3332</c:v>
                </c:pt>
                <c:pt idx="16">
                  <c:v>2081</c:v>
                </c:pt>
                <c:pt idx="17">
                  <c:v>5114</c:v>
                </c:pt>
                <c:pt idx="18">
                  <c:v>18657</c:v>
                </c:pt>
                <c:pt idx="19">
                  <c:v>5458</c:v>
                </c:pt>
                <c:pt idx="20">
                  <c:v>3217</c:v>
                </c:pt>
                <c:pt idx="21">
                  <c:v>3270</c:v>
                </c:pt>
                <c:pt idx="22">
                  <c:v>5131</c:v>
                </c:pt>
                <c:pt idx="23">
                  <c:v>5672</c:v>
                </c:pt>
                <c:pt idx="24">
                  <c:v>106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1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7.1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17</c:v>
                </c:pt>
                <c:pt idx="1">
                  <c:v>48.87</c:v>
                </c:pt>
                <c:pt idx="2">
                  <c:v>47.7</c:v>
                </c:pt>
                <c:pt idx="3">
                  <c:v>39.42</c:v>
                </c:pt>
                <c:pt idx="4">
                  <c:v>45.69</c:v>
                </c:pt>
                <c:pt idx="5">
                  <c:v>40.96</c:v>
                </c:pt>
                <c:pt idx="6">
                  <c:v>38.67</c:v>
                </c:pt>
                <c:pt idx="7">
                  <c:v>41.84</c:v>
                </c:pt>
                <c:pt idx="8">
                  <c:v>41.71</c:v>
                </c:pt>
                <c:pt idx="9">
                  <c:v>42.94</c:v>
                </c:pt>
                <c:pt idx="10">
                  <c:v>39.33</c:v>
                </c:pt>
                <c:pt idx="11">
                  <c:v>42.73</c:v>
                </c:pt>
                <c:pt idx="12">
                  <c:v>48.25</c:v>
                </c:pt>
                <c:pt idx="13">
                  <c:v>48.88</c:v>
                </c:pt>
                <c:pt idx="14">
                  <c:v>47.52</c:v>
                </c:pt>
                <c:pt idx="15">
                  <c:v>41.65</c:v>
                </c:pt>
                <c:pt idx="16">
                  <c:v>47.3</c:v>
                </c:pt>
                <c:pt idx="17">
                  <c:v>42.26</c:v>
                </c:pt>
                <c:pt idx="18">
                  <c:v>42.02</c:v>
                </c:pt>
                <c:pt idx="19">
                  <c:v>54.04</c:v>
                </c:pt>
                <c:pt idx="20">
                  <c:v>42.33</c:v>
                </c:pt>
                <c:pt idx="21">
                  <c:v>48.81</c:v>
                </c:pt>
                <c:pt idx="22">
                  <c:v>42.76</c:v>
                </c:pt>
                <c:pt idx="23">
                  <c:v>43.97</c:v>
                </c:pt>
                <c:pt idx="24">
                  <c:v>47.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9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976</c:v>
                </c:pt>
                <c:pt idx="1">
                  <c:v>988</c:v>
                </c:pt>
                <c:pt idx="2">
                  <c:v>1016</c:v>
                </c:pt>
                <c:pt idx="3">
                  <c:v>4690</c:v>
                </c:pt>
                <c:pt idx="4">
                  <c:v>1646</c:v>
                </c:pt>
                <c:pt idx="5">
                  <c:v>3638</c:v>
                </c:pt>
                <c:pt idx="6">
                  <c:v>15753</c:v>
                </c:pt>
                <c:pt idx="7">
                  <c:v>5143</c:v>
                </c:pt>
                <c:pt idx="8">
                  <c:v>3384</c:v>
                </c:pt>
                <c:pt idx="9">
                  <c:v>2249</c:v>
                </c:pt>
                <c:pt idx="10">
                  <c:v>6390</c:v>
                </c:pt>
                <c:pt idx="11">
                  <c:v>2013</c:v>
                </c:pt>
                <c:pt idx="12">
                  <c:v>2095</c:v>
                </c:pt>
                <c:pt idx="13">
                  <c:v>1582</c:v>
                </c:pt>
                <c:pt idx="14">
                  <c:v>677</c:v>
                </c:pt>
                <c:pt idx="15">
                  <c:v>2114</c:v>
                </c:pt>
                <c:pt idx="16">
                  <c:v>1913</c:v>
                </c:pt>
                <c:pt idx="17">
                  <c:v>4495</c:v>
                </c:pt>
                <c:pt idx="18">
                  <c:v>12278</c:v>
                </c:pt>
                <c:pt idx="19">
                  <c:v>3852</c:v>
                </c:pt>
                <c:pt idx="20">
                  <c:v>3742</c:v>
                </c:pt>
                <c:pt idx="21">
                  <c:v>2330</c:v>
                </c:pt>
                <c:pt idx="22">
                  <c:v>3202</c:v>
                </c:pt>
                <c:pt idx="23">
                  <c:v>3701</c:v>
                </c:pt>
                <c:pt idx="24">
                  <c:v>492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3.9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7.9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4.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3.91</c:v>
                </c:pt>
                <c:pt idx="1">
                  <c:v>47.05</c:v>
                </c:pt>
                <c:pt idx="2">
                  <c:v>48.38</c:v>
                </c:pt>
                <c:pt idx="3">
                  <c:v>39.08</c:v>
                </c:pt>
                <c:pt idx="4">
                  <c:v>45.72</c:v>
                </c:pt>
                <c:pt idx="5">
                  <c:v>40.42</c:v>
                </c:pt>
                <c:pt idx="6">
                  <c:v>38.9</c:v>
                </c:pt>
                <c:pt idx="7">
                  <c:v>42.5</c:v>
                </c:pt>
                <c:pt idx="8">
                  <c:v>38.9</c:v>
                </c:pt>
                <c:pt idx="9">
                  <c:v>44.98</c:v>
                </c:pt>
                <c:pt idx="10">
                  <c:v>38.26</c:v>
                </c:pt>
                <c:pt idx="11">
                  <c:v>42.83</c:v>
                </c:pt>
                <c:pt idx="12">
                  <c:v>46.56</c:v>
                </c:pt>
                <c:pt idx="13">
                  <c:v>47.94</c:v>
                </c:pt>
                <c:pt idx="14">
                  <c:v>48.36</c:v>
                </c:pt>
                <c:pt idx="15">
                  <c:v>42.28</c:v>
                </c:pt>
                <c:pt idx="16">
                  <c:v>44.49</c:v>
                </c:pt>
                <c:pt idx="17">
                  <c:v>43.22</c:v>
                </c:pt>
                <c:pt idx="18">
                  <c:v>41.9</c:v>
                </c:pt>
                <c:pt idx="19">
                  <c:v>53.5</c:v>
                </c:pt>
                <c:pt idx="20">
                  <c:v>43.51</c:v>
                </c:pt>
                <c:pt idx="21">
                  <c:v>50.65</c:v>
                </c:pt>
                <c:pt idx="22">
                  <c:v>45.1</c:v>
                </c:pt>
                <c:pt idx="23">
                  <c:v>46.85</c:v>
                </c:pt>
                <c:pt idx="24">
                  <c:v>44.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496</c:v>
                </c:pt>
                <c:pt idx="1">
                  <c:v>1380</c:v>
                </c:pt>
                <c:pt idx="2">
                  <c:v>1238</c:v>
                </c:pt>
                <c:pt idx="3">
                  <c:v>3712</c:v>
                </c:pt>
                <c:pt idx="4">
                  <c:v>1394</c:v>
                </c:pt>
                <c:pt idx="5">
                  <c:v>4776</c:v>
                </c:pt>
                <c:pt idx="6">
                  <c:v>12165</c:v>
                </c:pt>
                <c:pt idx="7">
                  <c:v>3579</c:v>
                </c:pt>
                <c:pt idx="8">
                  <c:v>2089</c:v>
                </c:pt>
                <c:pt idx="9">
                  <c:v>1658</c:v>
                </c:pt>
                <c:pt idx="10">
                  <c:v>4496</c:v>
                </c:pt>
                <c:pt idx="11">
                  <c:v>2459</c:v>
                </c:pt>
                <c:pt idx="12">
                  <c:v>1378</c:v>
                </c:pt>
                <c:pt idx="13">
                  <c:v>1998</c:v>
                </c:pt>
                <c:pt idx="14">
                  <c:v>1115</c:v>
                </c:pt>
                <c:pt idx="15">
                  <c:v>2454</c:v>
                </c:pt>
                <c:pt idx="16">
                  <c:v>1834</c:v>
                </c:pt>
                <c:pt idx="17">
                  <c:v>8316</c:v>
                </c:pt>
                <c:pt idx="18">
                  <c:v>12518</c:v>
                </c:pt>
                <c:pt idx="19">
                  <c:v>2941</c:v>
                </c:pt>
                <c:pt idx="20">
                  <c:v>2925</c:v>
                </c:pt>
                <c:pt idx="21">
                  <c:v>1593</c:v>
                </c:pt>
                <c:pt idx="22">
                  <c:v>2571</c:v>
                </c:pt>
                <c:pt idx="23">
                  <c:v>2569</c:v>
                </c:pt>
                <c:pt idx="24">
                  <c:v>36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5.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38</c:v>
                </c:pt>
                <c:pt idx="1">
                  <c:v>49.29</c:v>
                </c:pt>
                <c:pt idx="2">
                  <c:v>49.52</c:v>
                </c:pt>
                <c:pt idx="3">
                  <c:v>40.79</c:v>
                </c:pt>
                <c:pt idx="4">
                  <c:v>48.07</c:v>
                </c:pt>
                <c:pt idx="5">
                  <c:v>39.47</c:v>
                </c:pt>
                <c:pt idx="6">
                  <c:v>39.5</c:v>
                </c:pt>
                <c:pt idx="7">
                  <c:v>41.14</c:v>
                </c:pt>
                <c:pt idx="8">
                  <c:v>37.98</c:v>
                </c:pt>
                <c:pt idx="9">
                  <c:v>43.63</c:v>
                </c:pt>
                <c:pt idx="10">
                  <c:v>40.5</c:v>
                </c:pt>
                <c:pt idx="11">
                  <c:v>43.91</c:v>
                </c:pt>
                <c:pt idx="12">
                  <c:v>45.93</c:v>
                </c:pt>
                <c:pt idx="13">
                  <c:v>48.73</c:v>
                </c:pt>
                <c:pt idx="14">
                  <c:v>48.48</c:v>
                </c:pt>
                <c:pt idx="15">
                  <c:v>43.82</c:v>
                </c:pt>
                <c:pt idx="16">
                  <c:v>45.85</c:v>
                </c:pt>
                <c:pt idx="17">
                  <c:v>40.17</c:v>
                </c:pt>
                <c:pt idx="18">
                  <c:v>42.15</c:v>
                </c:pt>
                <c:pt idx="19">
                  <c:v>47.44</c:v>
                </c:pt>
                <c:pt idx="20">
                  <c:v>47.18</c:v>
                </c:pt>
                <c:pt idx="21">
                  <c:v>46.85</c:v>
                </c:pt>
                <c:pt idx="22">
                  <c:v>45.11</c:v>
                </c:pt>
                <c:pt idx="23">
                  <c:v>44.29</c:v>
                </c:pt>
                <c:pt idx="24">
                  <c:v>45.7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869</c:v>
                </c:pt>
                <c:pt idx="1">
                  <c:v>789</c:v>
                </c:pt>
                <c:pt idx="2">
                  <c:v>606</c:v>
                </c:pt>
                <c:pt idx="3">
                  <c:v>4468</c:v>
                </c:pt>
                <c:pt idx="4">
                  <c:v>1652</c:v>
                </c:pt>
                <c:pt idx="5">
                  <c:v>3766</c:v>
                </c:pt>
                <c:pt idx="6">
                  <c:v>15676</c:v>
                </c:pt>
                <c:pt idx="7">
                  <c:v>4020</c:v>
                </c:pt>
                <c:pt idx="8">
                  <c:v>3027</c:v>
                </c:pt>
                <c:pt idx="9">
                  <c:v>1716</c:v>
                </c:pt>
                <c:pt idx="10">
                  <c:v>5644</c:v>
                </c:pt>
                <c:pt idx="11">
                  <c:v>3574</c:v>
                </c:pt>
                <c:pt idx="12">
                  <c:v>2484</c:v>
                </c:pt>
                <c:pt idx="13">
                  <c:v>1063</c:v>
                </c:pt>
                <c:pt idx="14">
                  <c:v>815</c:v>
                </c:pt>
                <c:pt idx="15">
                  <c:v>2901</c:v>
                </c:pt>
                <c:pt idx="16">
                  <c:v>1334</c:v>
                </c:pt>
                <c:pt idx="17">
                  <c:v>4026</c:v>
                </c:pt>
                <c:pt idx="18">
                  <c:v>17172</c:v>
                </c:pt>
                <c:pt idx="19">
                  <c:v>3134</c:v>
                </c:pt>
                <c:pt idx="20">
                  <c:v>5329</c:v>
                </c:pt>
                <c:pt idx="21">
                  <c:v>1876</c:v>
                </c:pt>
                <c:pt idx="22">
                  <c:v>3873</c:v>
                </c:pt>
                <c:pt idx="23">
                  <c:v>3917</c:v>
                </c:pt>
                <c:pt idx="24">
                  <c:v>436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7.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0.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4.9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7.92</c:v>
                </c:pt>
                <c:pt idx="1">
                  <c:v>46.41</c:v>
                </c:pt>
                <c:pt idx="2">
                  <c:v>50.5</c:v>
                </c:pt>
                <c:pt idx="3">
                  <c:v>40.62</c:v>
                </c:pt>
                <c:pt idx="4">
                  <c:v>44.65</c:v>
                </c:pt>
                <c:pt idx="5">
                  <c:v>40.93</c:v>
                </c:pt>
                <c:pt idx="6">
                  <c:v>38.9</c:v>
                </c:pt>
                <c:pt idx="7">
                  <c:v>40.2</c:v>
                </c:pt>
                <c:pt idx="8">
                  <c:v>38.81</c:v>
                </c:pt>
                <c:pt idx="9">
                  <c:v>45.16</c:v>
                </c:pt>
                <c:pt idx="10">
                  <c:v>38.14</c:v>
                </c:pt>
                <c:pt idx="11">
                  <c:v>42.05</c:v>
                </c:pt>
                <c:pt idx="12">
                  <c:v>45.16</c:v>
                </c:pt>
                <c:pt idx="13">
                  <c:v>50.62</c:v>
                </c:pt>
                <c:pt idx="14">
                  <c:v>47.94</c:v>
                </c:pt>
                <c:pt idx="15">
                  <c:v>42.66</c:v>
                </c:pt>
                <c:pt idx="16">
                  <c:v>46.0</c:v>
                </c:pt>
                <c:pt idx="17">
                  <c:v>45.75</c:v>
                </c:pt>
                <c:pt idx="18">
                  <c:v>41.08</c:v>
                </c:pt>
                <c:pt idx="19">
                  <c:v>46.78</c:v>
                </c:pt>
                <c:pt idx="20">
                  <c:v>44.41</c:v>
                </c:pt>
                <c:pt idx="21">
                  <c:v>44.67</c:v>
                </c:pt>
                <c:pt idx="22">
                  <c:v>45.56</c:v>
                </c:pt>
                <c:pt idx="23">
                  <c:v>46.63</c:v>
                </c:pt>
                <c:pt idx="24">
                  <c:v>44.9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3,8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0,2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7,9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33858</c:v>
                </c:pt>
                <c:pt idx="1">
                  <c:v>252788</c:v>
                </c:pt>
                <c:pt idx="2">
                  <c:v>149841</c:v>
                </c:pt>
                <c:pt idx="3">
                  <c:v>267005</c:v>
                </c:pt>
                <c:pt idx="4">
                  <c:v>317472</c:v>
                </c:pt>
                <c:pt idx="5">
                  <c:v>346648</c:v>
                </c:pt>
                <c:pt idx="6">
                  <c:v>627693</c:v>
                </c:pt>
                <c:pt idx="7">
                  <c:v>363448</c:v>
                </c:pt>
                <c:pt idx="8">
                  <c:v>266572</c:v>
                </c:pt>
                <c:pt idx="9">
                  <c:v>308053</c:v>
                </c:pt>
                <c:pt idx="10">
                  <c:v>347232</c:v>
                </c:pt>
                <c:pt idx="11">
                  <c:v>337882</c:v>
                </c:pt>
                <c:pt idx="12">
                  <c:v>415445</c:v>
                </c:pt>
                <c:pt idx="13">
                  <c:v>270241</c:v>
                </c:pt>
                <c:pt idx="14">
                  <c:v>166495</c:v>
                </c:pt>
                <c:pt idx="15">
                  <c:v>279885</c:v>
                </c:pt>
                <c:pt idx="16">
                  <c:v>332305</c:v>
                </c:pt>
                <c:pt idx="17">
                  <c:v>433457</c:v>
                </c:pt>
                <c:pt idx="18">
                  <c:v>538015</c:v>
                </c:pt>
                <c:pt idx="19">
                  <c:v>301465</c:v>
                </c:pt>
                <c:pt idx="20">
                  <c:v>240842</c:v>
                </c:pt>
                <c:pt idx="21">
                  <c:v>261849</c:v>
                </c:pt>
                <c:pt idx="22">
                  <c:v>284337</c:v>
                </c:pt>
                <c:pt idx="23">
                  <c:v>352179</c:v>
                </c:pt>
                <c:pt idx="24">
                  <c:v>32791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0.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0.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2.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0.35</c:v>
                </c:pt>
                <c:pt idx="1">
                  <c:v>30.7</c:v>
                </c:pt>
                <c:pt idx="2">
                  <c:v>30.7</c:v>
                </c:pt>
                <c:pt idx="3">
                  <c:v>29.68</c:v>
                </c:pt>
                <c:pt idx="4">
                  <c:v>30.72</c:v>
                </c:pt>
                <c:pt idx="5">
                  <c:v>30.47</c:v>
                </c:pt>
                <c:pt idx="6">
                  <c:v>31.22</c:v>
                </c:pt>
                <c:pt idx="7">
                  <c:v>32.93</c:v>
                </c:pt>
                <c:pt idx="8">
                  <c:v>32.32</c:v>
                </c:pt>
                <c:pt idx="9">
                  <c:v>32.22</c:v>
                </c:pt>
                <c:pt idx="10">
                  <c:v>34.08</c:v>
                </c:pt>
                <c:pt idx="11">
                  <c:v>33.85</c:v>
                </c:pt>
                <c:pt idx="12">
                  <c:v>30.05</c:v>
                </c:pt>
                <c:pt idx="13">
                  <c:v>30.31</c:v>
                </c:pt>
                <c:pt idx="14">
                  <c:v>30.33</c:v>
                </c:pt>
                <c:pt idx="15">
                  <c:v>32.04</c:v>
                </c:pt>
                <c:pt idx="16">
                  <c:v>29.86</c:v>
                </c:pt>
                <c:pt idx="17">
                  <c:v>31.94</c:v>
                </c:pt>
                <c:pt idx="18">
                  <c:v>32.66</c:v>
                </c:pt>
                <c:pt idx="19">
                  <c:v>32.21</c:v>
                </c:pt>
                <c:pt idx="20">
                  <c:v>32.44</c:v>
                </c:pt>
                <c:pt idx="21">
                  <c:v>32.21</c:v>
                </c:pt>
                <c:pt idx="22">
                  <c:v>31.84</c:v>
                </c:pt>
                <c:pt idx="23">
                  <c:v>30.88</c:v>
                </c:pt>
                <c:pt idx="24">
                  <c:v>32.4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323</c:v>
                </c:pt>
                <c:pt idx="1">
                  <c:v>1165</c:v>
                </c:pt>
                <c:pt idx="2">
                  <c:v>628</c:v>
                </c:pt>
                <c:pt idx="3">
                  <c:v>2065</c:v>
                </c:pt>
                <c:pt idx="4">
                  <c:v>551</c:v>
                </c:pt>
                <c:pt idx="5">
                  <c:v>1130</c:v>
                </c:pt>
                <c:pt idx="6">
                  <c:v>6154</c:v>
                </c:pt>
                <c:pt idx="7">
                  <c:v>2325</c:v>
                </c:pt>
                <c:pt idx="8">
                  <c:v>1497</c:v>
                </c:pt>
                <c:pt idx="9">
                  <c:v>546</c:v>
                </c:pt>
                <c:pt idx="10">
                  <c:v>2789</c:v>
                </c:pt>
                <c:pt idx="11">
                  <c:v>1188</c:v>
                </c:pt>
                <c:pt idx="12">
                  <c:v>1066</c:v>
                </c:pt>
                <c:pt idx="13">
                  <c:v>598</c:v>
                </c:pt>
                <c:pt idx="14">
                  <c:v>392</c:v>
                </c:pt>
                <c:pt idx="15">
                  <c:v>1183</c:v>
                </c:pt>
                <c:pt idx="16">
                  <c:v>418</c:v>
                </c:pt>
                <c:pt idx="17">
                  <c:v>1541</c:v>
                </c:pt>
                <c:pt idx="18">
                  <c:v>8817</c:v>
                </c:pt>
                <c:pt idx="19">
                  <c:v>742</c:v>
                </c:pt>
                <c:pt idx="20">
                  <c:v>2083</c:v>
                </c:pt>
                <c:pt idx="21">
                  <c:v>721</c:v>
                </c:pt>
                <c:pt idx="22">
                  <c:v>1539</c:v>
                </c:pt>
                <c:pt idx="23">
                  <c:v>1533</c:v>
                </c:pt>
                <c:pt idx="24">
                  <c:v>11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7.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6.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1.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7.25</c:v>
                </c:pt>
                <c:pt idx="1">
                  <c:v>46.6</c:v>
                </c:pt>
                <c:pt idx="2">
                  <c:v>52.33</c:v>
                </c:pt>
                <c:pt idx="3">
                  <c:v>43.02</c:v>
                </c:pt>
                <c:pt idx="4">
                  <c:v>39.36</c:v>
                </c:pt>
                <c:pt idx="5">
                  <c:v>41.85</c:v>
                </c:pt>
                <c:pt idx="6">
                  <c:v>38.7</c:v>
                </c:pt>
                <c:pt idx="7">
                  <c:v>38.75</c:v>
                </c:pt>
                <c:pt idx="8">
                  <c:v>35.64</c:v>
                </c:pt>
                <c:pt idx="9">
                  <c:v>45.5</c:v>
                </c:pt>
                <c:pt idx="10">
                  <c:v>37.69</c:v>
                </c:pt>
                <c:pt idx="11">
                  <c:v>42.43</c:v>
                </c:pt>
                <c:pt idx="12">
                  <c:v>53.3</c:v>
                </c:pt>
                <c:pt idx="13">
                  <c:v>46.0</c:v>
                </c:pt>
                <c:pt idx="14">
                  <c:v>43.56</c:v>
                </c:pt>
                <c:pt idx="15">
                  <c:v>43.81</c:v>
                </c:pt>
                <c:pt idx="16">
                  <c:v>46.44</c:v>
                </c:pt>
                <c:pt idx="17">
                  <c:v>42.81</c:v>
                </c:pt>
                <c:pt idx="18">
                  <c:v>39.54</c:v>
                </c:pt>
                <c:pt idx="19">
                  <c:v>49.47</c:v>
                </c:pt>
                <c:pt idx="20">
                  <c:v>40.06</c:v>
                </c:pt>
                <c:pt idx="21">
                  <c:v>42.41</c:v>
                </c:pt>
                <c:pt idx="22">
                  <c:v>43.97</c:v>
                </c:pt>
                <c:pt idx="23">
                  <c:v>43.8</c:v>
                </c:pt>
                <c:pt idx="24">
                  <c:v>4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5,1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0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5100</c:v>
                </c:pt>
                <c:pt idx="1">
                  <c:v>12861</c:v>
                </c:pt>
                <c:pt idx="2">
                  <c:v>7994</c:v>
                </c:pt>
                <c:pt idx="3">
                  <c:v>50701</c:v>
                </c:pt>
                <c:pt idx="4">
                  <c:v>16778</c:v>
                </c:pt>
                <c:pt idx="5">
                  <c:v>32169</c:v>
                </c:pt>
                <c:pt idx="6">
                  <c:v>118626</c:v>
                </c:pt>
                <c:pt idx="7">
                  <c:v>49470</c:v>
                </c:pt>
                <c:pt idx="8">
                  <c:v>30401</c:v>
                </c:pt>
                <c:pt idx="9">
                  <c:v>16284</c:v>
                </c:pt>
                <c:pt idx="10">
                  <c:v>45090</c:v>
                </c:pt>
                <c:pt idx="11">
                  <c:v>23290</c:v>
                </c:pt>
                <c:pt idx="12">
                  <c:v>27018</c:v>
                </c:pt>
                <c:pt idx="13">
                  <c:v>11028</c:v>
                </c:pt>
                <c:pt idx="14">
                  <c:v>7378</c:v>
                </c:pt>
                <c:pt idx="15">
                  <c:v>29050</c:v>
                </c:pt>
                <c:pt idx="16">
                  <c:v>17458</c:v>
                </c:pt>
                <c:pt idx="17">
                  <c:v>37756</c:v>
                </c:pt>
                <c:pt idx="18">
                  <c:v>122926</c:v>
                </c:pt>
                <c:pt idx="19">
                  <c:v>34176</c:v>
                </c:pt>
                <c:pt idx="20">
                  <c:v>37874</c:v>
                </c:pt>
                <c:pt idx="21">
                  <c:v>25547</c:v>
                </c:pt>
                <c:pt idx="22">
                  <c:v>33290</c:v>
                </c:pt>
                <c:pt idx="23">
                  <c:v>38065</c:v>
                </c:pt>
                <c:pt idx="24">
                  <c:v>436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8.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6.1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31</c:v>
                </c:pt>
                <c:pt idx="1">
                  <c:v>49.09</c:v>
                </c:pt>
                <c:pt idx="2">
                  <c:v>49.35</c:v>
                </c:pt>
                <c:pt idx="3">
                  <c:v>39.73</c:v>
                </c:pt>
                <c:pt idx="4">
                  <c:v>45.59</c:v>
                </c:pt>
                <c:pt idx="5">
                  <c:v>40.52</c:v>
                </c:pt>
                <c:pt idx="6">
                  <c:v>38.68</c:v>
                </c:pt>
                <c:pt idx="7">
                  <c:v>41.33</c:v>
                </c:pt>
                <c:pt idx="8">
                  <c:v>38.14</c:v>
                </c:pt>
                <c:pt idx="9">
                  <c:v>45.11</c:v>
                </c:pt>
                <c:pt idx="10">
                  <c:v>39.01</c:v>
                </c:pt>
                <c:pt idx="11">
                  <c:v>42.66</c:v>
                </c:pt>
                <c:pt idx="12">
                  <c:v>47.4</c:v>
                </c:pt>
                <c:pt idx="13">
                  <c:v>48.8</c:v>
                </c:pt>
                <c:pt idx="14">
                  <c:v>49.85</c:v>
                </c:pt>
                <c:pt idx="15">
                  <c:v>42.78</c:v>
                </c:pt>
                <c:pt idx="16">
                  <c:v>45.7</c:v>
                </c:pt>
                <c:pt idx="17">
                  <c:v>42.23</c:v>
                </c:pt>
                <c:pt idx="18">
                  <c:v>41.61</c:v>
                </c:pt>
                <c:pt idx="19">
                  <c:v>49.6</c:v>
                </c:pt>
                <c:pt idx="20">
                  <c:v>41.39</c:v>
                </c:pt>
                <c:pt idx="21">
                  <c:v>47.31</c:v>
                </c:pt>
                <c:pt idx="22">
                  <c:v>44.09</c:v>
                </c:pt>
                <c:pt idx="23">
                  <c:v>46.03</c:v>
                </c:pt>
                <c:pt idx="24">
                  <c:v>46.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5,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86,5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37,4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05427</c:v>
                </c:pt>
                <c:pt idx="1">
                  <c:v>676344</c:v>
                </c:pt>
                <c:pt idx="2">
                  <c:v>627481</c:v>
                </c:pt>
                <c:pt idx="3">
                  <c:v>497593</c:v>
                </c:pt>
                <c:pt idx="4">
                  <c:v>427888</c:v>
                </c:pt>
                <c:pt idx="5">
                  <c:v>548258</c:v>
                </c:pt>
                <c:pt idx="6">
                  <c:v>1852896</c:v>
                </c:pt>
                <c:pt idx="7">
                  <c:v>635170</c:v>
                </c:pt>
                <c:pt idx="8">
                  <c:v>304889</c:v>
                </c:pt>
                <c:pt idx="9">
                  <c:v>348944</c:v>
                </c:pt>
                <c:pt idx="10">
                  <c:v>359301</c:v>
                </c:pt>
                <c:pt idx="11">
                  <c:v>570694</c:v>
                </c:pt>
                <c:pt idx="12">
                  <c:v>535899</c:v>
                </c:pt>
                <c:pt idx="13">
                  <c:v>686508</c:v>
                </c:pt>
                <c:pt idx="14">
                  <c:v>615599</c:v>
                </c:pt>
                <c:pt idx="15">
                  <c:v>464231</c:v>
                </c:pt>
                <c:pt idx="16">
                  <c:v>437976</c:v>
                </c:pt>
                <c:pt idx="17">
                  <c:v>470320</c:v>
                </c:pt>
                <c:pt idx="18">
                  <c:v>1622038</c:v>
                </c:pt>
                <c:pt idx="19">
                  <c:v>363034</c:v>
                </c:pt>
                <c:pt idx="20">
                  <c:v>280392</c:v>
                </c:pt>
                <c:pt idx="21">
                  <c:v>312608</c:v>
                </c:pt>
                <c:pt idx="22">
                  <c:v>385391</c:v>
                </c:pt>
                <c:pt idx="23">
                  <c:v>493841</c:v>
                </c:pt>
                <c:pt idx="24">
                  <c:v>5374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1.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4.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3.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1.59</c:v>
                </c:pt>
                <c:pt idx="1">
                  <c:v>54.19</c:v>
                </c:pt>
                <c:pt idx="2">
                  <c:v>51.75</c:v>
                </c:pt>
                <c:pt idx="3">
                  <c:v>48.3</c:v>
                </c:pt>
                <c:pt idx="4">
                  <c:v>47.46</c:v>
                </c:pt>
                <c:pt idx="5">
                  <c:v>48.33</c:v>
                </c:pt>
                <c:pt idx="6">
                  <c:v>52.79</c:v>
                </c:pt>
                <c:pt idx="7">
                  <c:v>48.53</c:v>
                </c:pt>
                <c:pt idx="8">
                  <c:v>47.59</c:v>
                </c:pt>
                <c:pt idx="9">
                  <c:v>47.31</c:v>
                </c:pt>
                <c:pt idx="10">
                  <c:v>48.55</c:v>
                </c:pt>
                <c:pt idx="11">
                  <c:v>52.32</c:v>
                </c:pt>
                <c:pt idx="12">
                  <c:v>51.74</c:v>
                </c:pt>
                <c:pt idx="13">
                  <c:v>54.59</c:v>
                </c:pt>
                <c:pt idx="14">
                  <c:v>52.42</c:v>
                </c:pt>
                <c:pt idx="15">
                  <c:v>49.4</c:v>
                </c:pt>
                <c:pt idx="16">
                  <c:v>46.72</c:v>
                </c:pt>
                <c:pt idx="17">
                  <c:v>47.3</c:v>
                </c:pt>
                <c:pt idx="18">
                  <c:v>53.67</c:v>
                </c:pt>
                <c:pt idx="19">
                  <c:v>49.81</c:v>
                </c:pt>
                <c:pt idx="20">
                  <c:v>47.13</c:v>
                </c:pt>
                <c:pt idx="21">
                  <c:v>46.68</c:v>
                </c:pt>
                <c:pt idx="22">
                  <c:v>48.67</c:v>
                </c:pt>
                <c:pt idx="23">
                  <c:v>50.17</c:v>
                </c:pt>
                <c:pt idx="24">
                  <c:v>53.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3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0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7,044</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9383</c:v>
                </c:pt>
                <c:pt idx="1">
                  <c:v>9079</c:v>
                </c:pt>
                <c:pt idx="2">
                  <c:v>9383</c:v>
                </c:pt>
                <c:pt idx="3">
                  <c:v>9079</c:v>
                </c:pt>
                <c:pt idx="4">
                  <c:v>9383</c:v>
                </c:pt>
                <c:pt idx="5">
                  <c:v>9383</c:v>
                </c:pt>
                <c:pt idx="6">
                  <c:v>8777</c:v>
                </c:pt>
                <c:pt idx="7">
                  <c:v>9383</c:v>
                </c:pt>
                <c:pt idx="8">
                  <c:v>9079</c:v>
                </c:pt>
                <c:pt idx="9">
                  <c:v>9383</c:v>
                </c:pt>
                <c:pt idx="10">
                  <c:v>9079</c:v>
                </c:pt>
                <c:pt idx="11">
                  <c:v>8230</c:v>
                </c:pt>
                <c:pt idx="12">
                  <c:v>7280</c:v>
                </c:pt>
                <c:pt idx="13">
                  <c:v>7044</c:v>
                </c:pt>
                <c:pt idx="14">
                  <c:v>7280</c:v>
                </c:pt>
                <c:pt idx="15">
                  <c:v>7044</c:v>
                </c:pt>
                <c:pt idx="16">
                  <c:v>7280</c:v>
                </c:pt>
                <c:pt idx="17">
                  <c:v>7280</c:v>
                </c:pt>
                <c:pt idx="18">
                  <c:v>6576</c:v>
                </c:pt>
                <c:pt idx="19">
                  <c:v>7280</c:v>
                </c:pt>
                <c:pt idx="20">
                  <c:v>7044</c:v>
                </c:pt>
                <c:pt idx="21">
                  <c:v>7280</c:v>
                </c:pt>
                <c:pt idx="22">
                  <c:v>70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94.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92.6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92.68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94.78</c:v>
                </c:pt>
                <c:pt idx="1">
                  <c:v>93.6</c:v>
                </c:pt>
                <c:pt idx="2">
                  <c:v>94.78</c:v>
                </c:pt>
                <c:pt idx="3">
                  <c:v>93.6</c:v>
                </c:pt>
                <c:pt idx="4">
                  <c:v>94.78</c:v>
                </c:pt>
                <c:pt idx="5">
                  <c:v>94.78</c:v>
                </c:pt>
                <c:pt idx="6">
                  <c:v>93.37</c:v>
                </c:pt>
                <c:pt idx="7">
                  <c:v>94.78</c:v>
                </c:pt>
                <c:pt idx="8">
                  <c:v>93.6</c:v>
                </c:pt>
                <c:pt idx="9">
                  <c:v>94.78</c:v>
                </c:pt>
                <c:pt idx="10">
                  <c:v>93.6</c:v>
                </c:pt>
                <c:pt idx="11">
                  <c:v>93.52</c:v>
                </c:pt>
                <c:pt idx="12">
                  <c:v>93.33</c:v>
                </c:pt>
                <c:pt idx="13">
                  <c:v>92.68</c:v>
                </c:pt>
                <c:pt idx="14">
                  <c:v>93.33</c:v>
                </c:pt>
                <c:pt idx="15">
                  <c:v>92.68</c:v>
                </c:pt>
                <c:pt idx="16">
                  <c:v>93.33</c:v>
                </c:pt>
                <c:pt idx="17">
                  <c:v>93.33</c:v>
                </c:pt>
                <c:pt idx="18">
                  <c:v>91.33</c:v>
                </c:pt>
                <c:pt idx="19">
                  <c:v>93.33</c:v>
                </c:pt>
                <c:pt idx="20">
                  <c:v>92.68</c:v>
                </c:pt>
                <c:pt idx="21">
                  <c:v>93.33</c:v>
                </c:pt>
                <c:pt idx="22">
                  <c:v>92.6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9,9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7,2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5,6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9964</c:v>
                </c:pt>
                <c:pt idx="1">
                  <c:v>67593</c:v>
                </c:pt>
                <c:pt idx="2">
                  <c:v>35380</c:v>
                </c:pt>
                <c:pt idx="3">
                  <c:v>79314</c:v>
                </c:pt>
                <c:pt idx="4">
                  <c:v>75413</c:v>
                </c:pt>
                <c:pt idx="5">
                  <c:v>90832</c:v>
                </c:pt>
                <c:pt idx="6">
                  <c:v>290008</c:v>
                </c:pt>
                <c:pt idx="7">
                  <c:v>119376</c:v>
                </c:pt>
                <c:pt idx="8">
                  <c:v>45837</c:v>
                </c:pt>
                <c:pt idx="9">
                  <c:v>50682</c:v>
                </c:pt>
                <c:pt idx="10">
                  <c:v>47033</c:v>
                </c:pt>
                <c:pt idx="11">
                  <c:v>59396</c:v>
                </c:pt>
                <c:pt idx="12">
                  <c:v>59381</c:v>
                </c:pt>
                <c:pt idx="13">
                  <c:v>57235</c:v>
                </c:pt>
                <c:pt idx="14">
                  <c:v>55766</c:v>
                </c:pt>
                <c:pt idx="15">
                  <c:v>55057</c:v>
                </c:pt>
                <c:pt idx="16">
                  <c:v>66063</c:v>
                </c:pt>
                <c:pt idx="17">
                  <c:v>95533</c:v>
                </c:pt>
                <c:pt idx="18">
                  <c:v>221005</c:v>
                </c:pt>
                <c:pt idx="19">
                  <c:v>79203</c:v>
                </c:pt>
                <c:pt idx="20">
                  <c:v>43338</c:v>
                </c:pt>
                <c:pt idx="21">
                  <c:v>47019</c:v>
                </c:pt>
                <c:pt idx="22">
                  <c:v>66701</c:v>
                </c:pt>
                <c:pt idx="23">
                  <c:v>63762</c:v>
                </c:pt>
                <c:pt idx="24">
                  <c:v>556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93.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7.3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9.9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93.35</c:v>
                </c:pt>
                <c:pt idx="1">
                  <c:v>176.94</c:v>
                </c:pt>
                <c:pt idx="2">
                  <c:v>174.29</c:v>
                </c:pt>
                <c:pt idx="3">
                  <c:v>112.03</c:v>
                </c:pt>
                <c:pt idx="4">
                  <c:v>154.85</c:v>
                </c:pt>
                <c:pt idx="5">
                  <c:v>121.76</c:v>
                </c:pt>
                <c:pt idx="6">
                  <c:v>196.62</c:v>
                </c:pt>
                <c:pt idx="7">
                  <c:v>129.19</c:v>
                </c:pt>
                <c:pt idx="8">
                  <c:v>166.08</c:v>
                </c:pt>
                <c:pt idx="9">
                  <c:v>171.22</c:v>
                </c:pt>
                <c:pt idx="10">
                  <c:v>166.19</c:v>
                </c:pt>
                <c:pt idx="11">
                  <c:v>159.24</c:v>
                </c:pt>
                <c:pt idx="12">
                  <c:v>166.33</c:v>
                </c:pt>
                <c:pt idx="13">
                  <c:v>207.37</c:v>
                </c:pt>
                <c:pt idx="14">
                  <c:v>237.3</c:v>
                </c:pt>
                <c:pt idx="15">
                  <c:v>139.38</c:v>
                </c:pt>
                <c:pt idx="16">
                  <c:v>193.73</c:v>
                </c:pt>
                <c:pt idx="17">
                  <c:v>113.32</c:v>
                </c:pt>
                <c:pt idx="18">
                  <c:v>198.92</c:v>
                </c:pt>
                <c:pt idx="19">
                  <c:v>107.91</c:v>
                </c:pt>
                <c:pt idx="20">
                  <c:v>162.31</c:v>
                </c:pt>
                <c:pt idx="21">
                  <c:v>182.95</c:v>
                </c:pt>
                <c:pt idx="22">
                  <c:v>190.03</c:v>
                </c:pt>
                <c:pt idx="23">
                  <c:v>158.22</c:v>
                </c:pt>
                <c:pt idx="24">
                  <c:v>159.9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6,5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7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8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6536</c:v>
                </c:pt>
                <c:pt idx="1">
                  <c:v>37293</c:v>
                </c:pt>
                <c:pt idx="2">
                  <c:v>16678</c:v>
                </c:pt>
                <c:pt idx="3">
                  <c:v>34793</c:v>
                </c:pt>
                <c:pt idx="4">
                  <c:v>29647</c:v>
                </c:pt>
                <c:pt idx="5">
                  <c:v>58696</c:v>
                </c:pt>
                <c:pt idx="6">
                  <c:v>173474</c:v>
                </c:pt>
                <c:pt idx="7">
                  <c:v>54262</c:v>
                </c:pt>
                <c:pt idx="8">
                  <c:v>25266</c:v>
                </c:pt>
                <c:pt idx="9">
                  <c:v>18778</c:v>
                </c:pt>
                <c:pt idx="10">
                  <c:v>25913</c:v>
                </c:pt>
                <c:pt idx="11">
                  <c:v>25061</c:v>
                </c:pt>
                <c:pt idx="12">
                  <c:v>32078</c:v>
                </c:pt>
                <c:pt idx="13">
                  <c:v>21725</c:v>
                </c:pt>
                <c:pt idx="14">
                  <c:v>12658</c:v>
                </c:pt>
                <c:pt idx="15">
                  <c:v>29140</c:v>
                </c:pt>
                <c:pt idx="16">
                  <c:v>24197</c:v>
                </c:pt>
                <c:pt idx="17">
                  <c:v>40759</c:v>
                </c:pt>
                <c:pt idx="18">
                  <c:v>143272</c:v>
                </c:pt>
                <c:pt idx="19">
                  <c:v>34848</c:v>
                </c:pt>
                <c:pt idx="20">
                  <c:v>18193</c:v>
                </c:pt>
                <c:pt idx="21">
                  <c:v>27865</c:v>
                </c:pt>
                <c:pt idx="22">
                  <c:v>22630</c:v>
                </c:pt>
                <c:pt idx="23">
                  <c:v>32176</c:v>
                </c:pt>
                <c:pt idx="24">
                  <c:v>398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75.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71.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6.1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75.65</c:v>
                </c:pt>
                <c:pt idx="1">
                  <c:v>191.25</c:v>
                </c:pt>
                <c:pt idx="2">
                  <c:v>161.92</c:v>
                </c:pt>
                <c:pt idx="3">
                  <c:v>106.73</c:v>
                </c:pt>
                <c:pt idx="4">
                  <c:v>151.26</c:v>
                </c:pt>
                <c:pt idx="5">
                  <c:v>147.11</c:v>
                </c:pt>
                <c:pt idx="6">
                  <c:v>188.97</c:v>
                </c:pt>
                <c:pt idx="7">
                  <c:v>135.66</c:v>
                </c:pt>
                <c:pt idx="8">
                  <c:v>174.25</c:v>
                </c:pt>
                <c:pt idx="9">
                  <c:v>152.67</c:v>
                </c:pt>
                <c:pt idx="10">
                  <c:v>186.42</c:v>
                </c:pt>
                <c:pt idx="11">
                  <c:v>163.8</c:v>
                </c:pt>
                <c:pt idx="12">
                  <c:v>162.83</c:v>
                </c:pt>
                <c:pt idx="13">
                  <c:v>171.06</c:v>
                </c:pt>
                <c:pt idx="14">
                  <c:v>162.28</c:v>
                </c:pt>
                <c:pt idx="15">
                  <c:v>145.7</c:v>
                </c:pt>
                <c:pt idx="16">
                  <c:v>169.21</c:v>
                </c:pt>
                <c:pt idx="17">
                  <c:v>122.03</c:v>
                </c:pt>
                <c:pt idx="18">
                  <c:v>189.01</c:v>
                </c:pt>
                <c:pt idx="19">
                  <c:v>125.81</c:v>
                </c:pt>
                <c:pt idx="20">
                  <c:v>165.39</c:v>
                </c:pt>
                <c:pt idx="21">
                  <c:v>203.39</c:v>
                </c:pt>
                <c:pt idx="22">
                  <c:v>182.5</c:v>
                </c:pt>
                <c:pt idx="23">
                  <c:v>193.83</c:v>
                </c:pt>
                <c:pt idx="24">
                  <c:v>156.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8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196</c:v>
                </c:pt>
                <c:pt idx="1">
                  <c:v>7534</c:v>
                </c:pt>
                <c:pt idx="2">
                  <c:v>9237</c:v>
                </c:pt>
                <c:pt idx="3">
                  <c:v>7260</c:v>
                </c:pt>
                <c:pt idx="4">
                  <c:v>9402</c:v>
                </c:pt>
                <c:pt idx="5">
                  <c:v>11670</c:v>
                </c:pt>
                <c:pt idx="6">
                  <c:v>38066</c:v>
                </c:pt>
                <c:pt idx="7">
                  <c:v>9563</c:v>
                </c:pt>
                <c:pt idx="8">
                  <c:v>4630</c:v>
                </c:pt>
                <c:pt idx="9">
                  <c:v>8976</c:v>
                </c:pt>
                <c:pt idx="10">
                  <c:v>10092</c:v>
                </c:pt>
                <c:pt idx="11">
                  <c:v>9343</c:v>
                </c:pt>
                <c:pt idx="12">
                  <c:v>4481</c:v>
                </c:pt>
                <c:pt idx="13">
                  <c:v>9433</c:v>
                </c:pt>
                <c:pt idx="14">
                  <c:v>9704</c:v>
                </c:pt>
                <c:pt idx="15">
                  <c:v>7137</c:v>
                </c:pt>
                <c:pt idx="16">
                  <c:v>3452</c:v>
                </c:pt>
                <c:pt idx="17">
                  <c:v>3427</c:v>
                </c:pt>
                <c:pt idx="18">
                  <c:v>28117</c:v>
                </c:pt>
                <c:pt idx="19">
                  <c:v>5306</c:v>
                </c:pt>
                <c:pt idx="20">
                  <c:v>3948</c:v>
                </c:pt>
                <c:pt idx="21">
                  <c:v>3204</c:v>
                </c:pt>
                <c:pt idx="22">
                  <c:v>3500</c:v>
                </c:pt>
                <c:pt idx="23">
                  <c:v>7051</c:v>
                </c:pt>
                <c:pt idx="24">
                  <c:v>78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2.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85.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0.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2.38</c:v>
                </c:pt>
                <c:pt idx="1">
                  <c:v>228.3</c:v>
                </c:pt>
                <c:pt idx="2">
                  <c:v>236.85</c:v>
                </c:pt>
                <c:pt idx="3">
                  <c:v>168.84</c:v>
                </c:pt>
                <c:pt idx="4">
                  <c:v>200.04</c:v>
                </c:pt>
                <c:pt idx="5">
                  <c:v>204.74</c:v>
                </c:pt>
                <c:pt idx="6">
                  <c:v>245.59</c:v>
                </c:pt>
                <c:pt idx="7">
                  <c:v>162.08</c:v>
                </c:pt>
                <c:pt idx="8">
                  <c:v>231.5</c:v>
                </c:pt>
                <c:pt idx="9">
                  <c:v>249.33</c:v>
                </c:pt>
                <c:pt idx="10">
                  <c:v>229.36</c:v>
                </c:pt>
                <c:pt idx="11">
                  <c:v>252.51</c:v>
                </c:pt>
                <c:pt idx="12">
                  <c:v>172.35</c:v>
                </c:pt>
                <c:pt idx="13">
                  <c:v>285.85</c:v>
                </c:pt>
                <c:pt idx="14">
                  <c:v>262.27</c:v>
                </c:pt>
                <c:pt idx="15">
                  <c:v>169.93</c:v>
                </c:pt>
                <c:pt idx="16">
                  <c:v>203.06</c:v>
                </c:pt>
                <c:pt idx="17">
                  <c:v>142.79</c:v>
                </c:pt>
                <c:pt idx="18">
                  <c:v>228.59</c:v>
                </c:pt>
                <c:pt idx="19">
                  <c:v>151.6</c:v>
                </c:pt>
                <c:pt idx="20">
                  <c:v>171.65</c:v>
                </c:pt>
                <c:pt idx="21">
                  <c:v>168.63</c:v>
                </c:pt>
                <c:pt idx="22">
                  <c:v>194.44</c:v>
                </c:pt>
                <c:pt idx="23">
                  <c:v>243.14</c:v>
                </c:pt>
                <c:pt idx="24">
                  <c:v>190.8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9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962</c:v>
                </c:pt>
                <c:pt idx="1">
                  <c:v>3344</c:v>
                </c:pt>
                <c:pt idx="2">
                  <c:v>2350</c:v>
                </c:pt>
                <c:pt idx="3">
                  <c:v>1853</c:v>
                </c:pt>
                <c:pt idx="4">
                  <c:v>2468</c:v>
                </c:pt>
                <c:pt idx="5">
                  <c:v>3329</c:v>
                </c:pt>
                <c:pt idx="6">
                  <c:v>12453</c:v>
                </c:pt>
                <c:pt idx="7">
                  <c:v>6674</c:v>
                </c:pt>
                <c:pt idx="8">
                  <c:v>3196</c:v>
                </c:pt>
                <c:pt idx="9">
                  <c:v>2492</c:v>
                </c:pt>
                <c:pt idx="10">
                  <c:v>1675</c:v>
                </c:pt>
                <c:pt idx="11">
                  <c:v>3454</c:v>
                </c:pt>
                <c:pt idx="12">
                  <c:v>4106</c:v>
                </c:pt>
                <c:pt idx="13">
                  <c:v>2382</c:v>
                </c:pt>
                <c:pt idx="14">
                  <c:v>2676</c:v>
                </c:pt>
                <c:pt idx="15">
                  <c:v>2692</c:v>
                </c:pt>
                <c:pt idx="16">
                  <c:v>3199</c:v>
                </c:pt>
                <c:pt idx="17">
                  <c:v>3543</c:v>
                </c:pt>
                <c:pt idx="18">
                  <c:v>14883</c:v>
                </c:pt>
                <c:pt idx="19">
                  <c:v>3383</c:v>
                </c:pt>
                <c:pt idx="20">
                  <c:v>1631</c:v>
                </c:pt>
                <c:pt idx="21">
                  <c:v>2274</c:v>
                </c:pt>
                <c:pt idx="22">
                  <c:v>2403</c:v>
                </c:pt>
                <c:pt idx="23">
                  <c:v>2872</c:v>
                </c:pt>
                <c:pt idx="24">
                  <c:v>43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88.6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8.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39.5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88.67</c:v>
                </c:pt>
                <c:pt idx="1">
                  <c:v>176.0</c:v>
                </c:pt>
                <c:pt idx="2">
                  <c:v>195.83</c:v>
                </c:pt>
                <c:pt idx="3">
                  <c:v>92.65</c:v>
                </c:pt>
                <c:pt idx="4">
                  <c:v>154.25</c:v>
                </c:pt>
                <c:pt idx="5">
                  <c:v>118.89</c:v>
                </c:pt>
                <c:pt idx="6">
                  <c:v>177.9</c:v>
                </c:pt>
                <c:pt idx="7">
                  <c:v>151.68</c:v>
                </c:pt>
                <c:pt idx="8">
                  <c:v>133.17</c:v>
                </c:pt>
                <c:pt idx="9">
                  <c:v>178.0</c:v>
                </c:pt>
                <c:pt idx="10">
                  <c:v>139.58</c:v>
                </c:pt>
                <c:pt idx="11">
                  <c:v>157.0</c:v>
                </c:pt>
                <c:pt idx="12">
                  <c:v>157.92</c:v>
                </c:pt>
                <c:pt idx="13">
                  <c:v>148.88</c:v>
                </c:pt>
                <c:pt idx="14">
                  <c:v>267.6</c:v>
                </c:pt>
                <c:pt idx="15">
                  <c:v>112.17</c:v>
                </c:pt>
                <c:pt idx="16">
                  <c:v>177.72</c:v>
                </c:pt>
                <c:pt idx="17">
                  <c:v>131.22</c:v>
                </c:pt>
                <c:pt idx="18">
                  <c:v>188.39</c:v>
                </c:pt>
                <c:pt idx="19">
                  <c:v>147.09</c:v>
                </c:pt>
                <c:pt idx="20">
                  <c:v>135.92</c:v>
                </c:pt>
                <c:pt idx="21">
                  <c:v>142.12</c:v>
                </c:pt>
                <c:pt idx="22">
                  <c:v>126.47</c:v>
                </c:pt>
                <c:pt idx="23">
                  <c:v>106.37</c:v>
                </c:pt>
                <c:pt idx="24">
                  <c:v>139.5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6,9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3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2,3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6943</c:v>
                </c:pt>
                <c:pt idx="1">
                  <c:v>49956</c:v>
                </c:pt>
                <c:pt idx="2">
                  <c:v>39349</c:v>
                </c:pt>
                <c:pt idx="3">
                  <c:v>22078</c:v>
                </c:pt>
                <c:pt idx="4">
                  <c:v>15546</c:v>
                </c:pt>
                <c:pt idx="5">
                  <c:v>17437</c:v>
                </c:pt>
                <c:pt idx="6">
                  <c:v>69674</c:v>
                </c:pt>
                <c:pt idx="7">
                  <c:v>20724</c:v>
                </c:pt>
                <c:pt idx="8">
                  <c:v>10682</c:v>
                </c:pt>
                <c:pt idx="9">
                  <c:v>11527</c:v>
                </c:pt>
                <c:pt idx="10">
                  <c:v>23485</c:v>
                </c:pt>
                <c:pt idx="11">
                  <c:v>42639</c:v>
                </c:pt>
                <c:pt idx="12">
                  <c:v>29515</c:v>
                </c:pt>
                <c:pt idx="13">
                  <c:v>54365</c:v>
                </c:pt>
                <c:pt idx="14">
                  <c:v>35713</c:v>
                </c:pt>
                <c:pt idx="15">
                  <c:v>18877</c:v>
                </c:pt>
                <c:pt idx="16">
                  <c:v>12902</c:v>
                </c:pt>
                <c:pt idx="17">
                  <c:v>13287</c:v>
                </c:pt>
                <c:pt idx="18">
                  <c:v>67861</c:v>
                </c:pt>
                <c:pt idx="19">
                  <c:v>19763</c:v>
                </c:pt>
                <c:pt idx="20">
                  <c:v>14679</c:v>
                </c:pt>
                <c:pt idx="21">
                  <c:v>9325</c:v>
                </c:pt>
                <c:pt idx="22">
                  <c:v>16923</c:v>
                </c:pt>
                <c:pt idx="23">
                  <c:v>30990</c:v>
                </c:pt>
                <c:pt idx="24">
                  <c:v>423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51.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17.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49.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51.31</c:v>
                </c:pt>
                <c:pt idx="1">
                  <c:v>295.6</c:v>
                </c:pt>
                <c:pt idx="2">
                  <c:v>258.88</c:v>
                </c:pt>
                <c:pt idx="3">
                  <c:v>178.05</c:v>
                </c:pt>
                <c:pt idx="4">
                  <c:v>191.93</c:v>
                </c:pt>
                <c:pt idx="5">
                  <c:v>152.96</c:v>
                </c:pt>
                <c:pt idx="6">
                  <c:v>207.98</c:v>
                </c:pt>
                <c:pt idx="7">
                  <c:v>152.38</c:v>
                </c:pt>
                <c:pt idx="8">
                  <c:v>181.05</c:v>
                </c:pt>
                <c:pt idx="9">
                  <c:v>235.24</c:v>
                </c:pt>
                <c:pt idx="10">
                  <c:v>242.11</c:v>
                </c:pt>
                <c:pt idx="11">
                  <c:v>288.1</c:v>
                </c:pt>
                <c:pt idx="12">
                  <c:v>250.13</c:v>
                </c:pt>
                <c:pt idx="13">
                  <c:v>317.92</c:v>
                </c:pt>
                <c:pt idx="14">
                  <c:v>288.01</c:v>
                </c:pt>
                <c:pt idx="15">
                  <c:v>205.18</c:v>
                </c:pt>
                <c:pt idx="16">
                  <c:v>215.03</c:v>
                </c:pt>
                <c:pt idx="17">
                  <c:v>141.35</c:v>
                </c:pt>
                <c:pt idx="18">
                  <c:v>214.07</c:v>
                </c:pt>
                <c:pt idx="19">
                  <c:v>135.36</c:v>
                </c:pt>
                <c:pt idx="20">
                  <c:v>209.7</c:v>
                </c:pt>
                <c:pt idx="21">
                  <c:v>194.27</c:v>
                </c:pt>
                <c:pt idx="22">
                  <c:v>216.96</c:v>
                </c:pt>
                <c:pt idx="23">
                  <c:v>245.95</c:v>
                </c:pt>
                <c:pt idx="24">
                  <c:v>249.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4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417</c:v>
                </c:pt>
                <c:pt idx="1">
                  <c:v>5970</c:v>
                </c:pt>
                <c:pt idx="2">
                  <c:v>4839</c:v>
                </c:pt>
                <c:pt idx="3">
                  <c:v>6591</c:v>
                </c:pt>
                <c:pt idx="4">
                  <c:v>5755</c:v>
                </c:pt>
                <c:pt idx="5">
                  <c:v>5351</c:v>
                </c:pt>
                <c:pt idx="6">
                  <c:v>21409</c:v>
                </c:pt>
                <c:pt idx="7">
                  <c:v>7010</c:v>
                </c:pt>
                <c:pt idx="8">
                  <c:v>1176</c:v>
                </c:pt>
                <c:pt idx="9">
                  <c:v>3526</c:v>
                </c:pt>
                <c:pt idx="10">
                  <c:v>3187</c:v>
                </c:pt>
                <c:pt idx="11">
                  <c:v>4392</c:v>
                </c:pt>
                <c:pt idx="12">
                  <c:v>4970</c:v>
                </c:pt>
                <c:pt idx="13">
                  <c:v>6375</c:v>
                </c:pt>
                <c:pt idx="14">
                  <c:v>1543</c:v>
                </c:pt>
                <c:pt idx="15">
                  <c:v>4575</c:v>
                </c:pt>
                <c:pt idx="16">
                  <c:v>3490</c:v>
                </c:pt>
                <c:pt idx="17">
                  <c:v>7130</c:v>
                </c:pt>
                <c:pt idx="18">
                  <c:v>17585</c:v>
                </c:pt>
                <c:pt idx="19">
                  <c:v>4968</c:v>
                </c:pt>
                <c:pt idx="20">
                  <c:v>3199</c:v>
                </c:pt>
                <c:pt idx="21">
                  <c:v>3451</c:v>
                </c:pt>
                <c:pt idx="22">
                  <c:v>4423</c:v>
                </c:pt>
                <c:pt idx="23">
                  <c:v>5821</c:v>
                </c:pt>
                <c:pt idx="24">
                  <c:v>603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5.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1.7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0.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5.98</c:v>
                </c:pt>
                <c:pt idx="1">
                  <c:v>127.02</c:v>
                </c:pt>
                <c:pt idx="2">
                  <c:v>107.53</c:v>
                </c:pt>
                <c:pt idx="3">
                  <c:v>143.28</c:v>
                </c:pt>
                <c:pt idx="4">
                  <c:v>147.56</c:v>
                </c:pt>
                <c:pt idx="5">
                  <c:v>127.4</c:v>
                </c:pt>
                <c:pt idx="6">
                  <c:v>167.26</c:v>
                </c:pt>
                <c:pt idx="7">
                  <c:v>127.45</c:v>
                </c:pt>
                <c:pt idx="8">
                  <c:v>106.91</c:v>
                </c:pt>
                <c:pt idx="9">
                  <c:v>117.53</c:v>
                </c:pt>
                <c:pt idx="10">
                  <c:v>177.06</c:v>
                </c:pt>
                <c:pt idx="11">
                  <c:v>175.68</c:v>
                </c:pt>
                <c:pt idx="12">
                  <c:v>146.18</c:v>
                </c:pt>
                <c:pt idx="13">
                  <c:v>151.79</c:v>
                </c:pt>
                <c:pt idx="14">
                  <c:v>85.72</c:v>
                </c:pt>
                <c:pt idx="15">
                  <c:v>117.31</c:v>
                </c:pt>
                <c:pt idx="16">
                  <c:v>116.33</c:v>
                </c:pt>
                <c:pt idx="17">
                  <c:v>151.7</c:v>
                </c:pt>
                <c:pt idx="18">
                  <c:v>157.01</c:v>
                </c:pt>
                <c:pt idx="19">
                  <c:v>134.27</c:v>
                </c:pt>
                <c:pt idx="20">
                  <c:v>199.94</c:v>
                </c:pt>
                <c:pt idx="21">
                  <c:v>150.04</c:v>
                </c:pt>
                <c:pt idx="22">
                  <c:v>147.43</c:v>
                </c:pt>
                <c:pt idx="23">
                  <c:v>153.18</c:v>
                </c:pt>
                <c:pt idx="24">
                  <c:v>140.4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8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809</c:v>
                </c:pt>
                <c:pt idx="1">
                  <c:v>2581</c:v>
                </c:pt>
                <c:pt idx="2">
                  <c:v>2852</c:v>
                </c:pt>
                <c:pt idx="3">
                  <c:v>3796</c:v>
                </c:pt>
                <c:pt idx="4">
                  <c:v>3823</c:v>
                </c:pt>
                <c:pt idx="5">
                  <c:v>4613</c:v>
                </c:pt>
                <c:pt idx="6">
                  <c:v>19394</c:v>
                </c:pt>
                <c:pt idx="7">
                  <c:v>8839</c:v>
                </c:pt>
                <c:pt idx="8">
                  <c:v>2708</c:v>
                </c:pt>
                <c:pt idx="9">
                  <c:v>1961</c:v>
                </c:pt>
                <c:pt idx="10">
                  <c:v>2554</c:v>
                </c:pt>
                <c:pt idx="11">
                  <c:v>2857</c:v>
                </c:pt>
                <c:pt idx="12">
                  <c:v>3479</c:v>
                </c:pt>
                <c:pt idx="13">
                  <c:v>3221</c:v>
                </c:pt>
                <c:pt idx="14">
                  <c:v>3203</c:v>
                </c:pt>
                <c:pt idx="15">
                  <c:v>2269</c:v>
                </c:pt>
                <c:pt idx="16">
                  <c:v>2326</c:v>
                </c:pt>
                <c:pt idx="17">
                  <c:v>3665</c:v>
                </c:pt>
                <c:pt idx="18">
                  <c:v>17049</c:v>
                </c:pt>
                <c:pt idx="19">
                  <c:v>4257</c:v>
                </c:pt>
                <c:pt idx="20">
                  <c:v>2285</c:v>
                </c:pt>
                <c:pt idx="21">
                  <c:v>4354</c:v>
                </c:pt>
                <c:pt idx="22">
                  <c:v>3787</c:v>
                </c:pt>
                <c:pt idx="23">
                  <c:v>5147</c:v>
                </c:pt>
                <c:pt idx="24">
                  <c:v>360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5.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3.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4.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5.61</c:v>
                </c:pt>
                <c:pt idx="1">
                  <c:v>117.32</c:v>
                </c:pt>
                <c:pt idx="2">
                  <c:v>203.71</c:v>
                </c:pt>
                <c:pt idx="3">
                  <c:v>99.89</c:v>
                </c:pt>
                <c:pt idx="4">
                  <c:v>152.92</c:v>
                </c:pt>
                <c:pt idx="5">
                  <c:v>135.68</c:v>
                </c:pt>
                <c:pt idx="6">
                  <c:v>158.97</c:v>
                </c:pt>
                <c:pt idx="7">
                  <c:v>163.69</c:v>
                </c:pt>
                <c:pt idx="8">
                  <c:v>135.4</c:v>
                </c:pt>
                <c:pt idx="9">
                  <c:v>140.07</c:v>
                </c:pt>
                <c:pt idx="10">
                  <c:v>111.04</c:v>
                </c:pt>
                <c:pt idx="11">
                  <c:v>142.85</c:v>
                </c:pt>
                <c:pt idx="12">
                  <c:v>139.16</c:v>
                </c:pt>
                <c:pt idx="13">
                  <c:v>153.38</c:v>
                </c:pt>
                <c:pt idx="14">
                  <c:v>123.19</c:v>
                </c:pt>
                <c:pt idx="15">
                  <c:v>108.05</c:v>
                </c:pt>
                <c:pt idx="16">
                  <c:v>193.83</c:v>
                </c:pt>
                <c:pt idx="17">
                  <c:v>107.79</c:v>
                </c:pt>
                <c:pt idx="18">
                  <c:v>189.43</c:v>
                </c:pt>
                <c:pt idx="19">
                  <c:v>193.5</c:v>
                </c:pt>
                <c:pt idx="20">
                  <c:v>190.42</c:v>
                </c:pt>
                <c:pt idx="21">
                  <c:v>181.42</c:v>
                </c:pt>
                <c:pt idx="22">
                  <c:v>189.35</c:v>
                </c:pt>
                <c:pt idx="23">
                  <c:v>190.63</c:v>
                </c:pt>
                <c:pt idx="24">
                  <c:v>144.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69</c:v>
                </c:pt>
                <c:pt idx="1">
                  <c:v>1964</c:v>
                </c:pt>
                <c:pt idx="2">
                  <c:v>1015</c:v>
                </c:pt>
                <c:pt idx="3">
                  <c:v>976</c:v>
                </c:pt>
                <c:pt idx="4">
                  <c:v>1081</c:v>
                </c:pt>
                <c:pt idx="5">
                  <c:v>753</c:v>
                </c:pt>
                <c:pt idx="6">
                  <c:v>6757</c:v>
                </c:pt>
                <c:pt idx="7">
                  <c:v>2775</c:v>
                </c:pt>
                <c:pt idx="8">
                  <c:v>402</c:v>
                </c:pt>
                <c:pt idx="9">
                  <c:v>1677</c:v>
                </c:pt>
                <c:pt idx="10">
                  <c:v>770</c:v>
                </c:pt>
                <c:pt idx="11">
                  <c:v>268</c:v>
                </c:pt>
                <c:pt idx="12">
                  <c:v>1582</c:v>
                </c:pt>
                <c:pt idx="13">
                  <c:v>1292</c:v>
                </c:pt>
                <c:pt idx="14">
                  <c:v>619</c:v>
                </c:pt>
                <c:pt idx="15">
                  <c:v>1637</c:v>
                </c:pt>
                <c:pt idx="16">
                  <c:v>2417</c:v>
                </c:pt>
                <c:pt idx="17">
                  <c:v>2695</c:v>
                </c:pt>
                <c:pt idx="18">
                  <c:v>4029</c:v>
                </c:pt>
                <c:pt idx="19">
                  <c:v>180</c:v>
                </c:pt>
                <c:pt idx="20">
                  <c:v>40</c:v>
                </c:pt>
                <c:pt idx="21">
                  <c:v>203</c:v>
                </c:pt>
                <c:pt idx="22">
                  <c:v>910</c:v>
                </c:pt>
                <c:pt idx="23">
                  <c:v>252</c:v>
                </c:pt>
                <c:pt idx="24">
                  <c:v>141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8.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84.5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7.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8.43</c:v>
                </c:pt>
                <c:pt idx="1">
                  <c:v>130.93</c:v>
                </c:pt>
                <c:pt idx="2">
                  <c:v>203.0</c:v>
                </c:pt>
                <c:pt idx="3">
                  <c:v>139.43</c:v>
                </c:pt>
                <c:pt idx="4">
                  <c:v>108.1</c:v>
                </c:pt>
                <c:pt idx="5">
                  <c:v>125.5</c:v>
                </c:pt>
                <c:pt idx="6">
                  <c:v>182.62</c:v>
                </c:pt>
                <c:pt idx="7">
                  <c:v>106.73</c:v>
                </c:pt>
                <c:pt idx="8">
                  <c:v>134.0</c:v>
                </c:pt>
                <c:pt idx="9">
                  <c:v>152.45</c:v>
                </c:pt>
                <c:pt idx="10">
                  <c:v>96.25</c:v>
                </c:pt>
                <c:pt idx="11">
                  <c:v>134.0</c:v>
                </c:pt>
                <c:pt idx="12">
                  <c:v>143.82</c:v>
                </c:pt>
                <c:pt idx="13">
                  <c:v>184.57</c:v>
                </c:pt>
                <c:pt idx="14">
                  <c:v>154.75</c:v>
                </c:pt>
                <c:pt idx="15">
                  <c:v>116.93</c:v>
                </c:pt>
                <c:pt idx="16">
                  <c:v>219.73</c:v>
                </c:pt>
                <c:pt idx="17">
                  <c:v>158.53</c:v>
                </c:pt>
                <c:pt idx="18">
                  <c:v>138.93</c:v>
                </c:pt>
                <c:pt idx="19">
                  <c:v>45.0</c:v>
                </c:pt>
                <c:pt idx="20">
                  <c:v>40.0</c:v>
                </c:pt>
                <c:pt idx="21">
                  <c:v>101.5</c:v>
                </c:pt>
                <c:pt idx="22">
                  <c:v>227.5</c:v>
                </c:pt>
                <c:pt idx="23">
                  <c:v>63.0</c:v>
                </c:pt>
                <c:pt idx="24">
                  <c:v>117.5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6,8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2,9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2,2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6840</c:v>
                </c:pt>
                <c:pt idx="1">
                  <c:v>102825</c:v>
                </c:pt>
                <c:pt idx="2">
                  <c:v>67579</c:v>
                </c:pt>
                <c:pt idx="3">
                  <c:v>79553</c:v>
                </c:pt>
                <c:pt idx="4">
                  <c:v>66470</c:v>
                </c:pt>
                <c:pt idx="5">
                  <c:v>77133</c:v>
                </c:pt>
                <c:pt idx="6">
                  <c:v>286665</c:v>
                </c:pt>
                <c:pt idx="7">
                  <c:v>122980</c:v>
                </c:pt>
                <c:pt idx="8">
                  <c:v>58146</c:v>
                </c:pt>
                <c:pt idx="9">
                  <c:v>53765</c:v>
                </c:pt>
                <c:pt idx="10">
                  <c:v>46111</c:v>
                </c:pt>
                <c:pt idx="11">
                  <c:v>87891</c:v>
                </c:pt>
                <c:pt idx="12">
                  <c:v>77082</c:v>
                </c:pt>
                <c:pt idx="13">
                  <c:v>82953</c:v>
                </c:pt>
                <c:pt idx="14">
                  <c:v>73037</c:v>
                </c:pt>
                <c:pt idx="15">
                  <c:v>69150</c:v>
                </c:pt>
                <c:pt idx="16">
                  <c:v>65704</c:v>
                </c:pt>
                <c:pt idx="17">
                  <c:v>86812</c:v>
                </c:pt>
                <c:pt idx="18">
                  <c:v>224597</c:v>
                </c:pt>
                <c:pt idx="19">
                  <c:v>96750</c:v>
                </c:pt>
                <c:pt idx="20">
                  <c:v>58791</c:v>
                </c:pt>
                <c:pt idx="21">
                  <c:v>43568</c:v>
                </c:pt>
                <c:pt idx="22">
                  <c:v>61228</c:v>
                </c:pt>
                <c:pt idx="23">
                  <c:v>76006</c:v>
                </c:pt>
                <c:pt idx="24">
                  <c:v>922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60.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65.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15.0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60.8</c:v>
                </c:pt>
                <c:pt idx="1">
                  <c:v>259.0</c:v>
                </c:pt>
                <c:pt idx="2">
                  <c:v>248.45</c:v>
                </c:pt>
                <c:pt idx="3">
                  <c:v>178.77</c:v>
                </c:pt>
                <c:pt idx="4">
                  <c:v>193.79</c:v>
                </c:pt>
                <c:pt idx="5">
                  <c:v>161.7</c:v>
                </c:pt>
                <c:pt idx="6">
                  <c:v>219.16</c:v>
                </c:pt>
                <c:pt idx="7">
                  <c:v>177.2</c:v>
                </c:pt>
                <c:pt idx="8">
                  <c:v>228.02</c:v>
                </c:pt>
                <c:pt idx="9">
                  <c:v>232.75</c:v>
                </c:pt>
                <c:pt idx="10">
                  <c:v>208.65</c:v>
                </c:pt>
                <c:pt idx="11">
                  <c:v>246.88</c:v>
                </c:pt>
                <c:pt idx="12">
                  <c:v>248.65</c:v>
                </c:pt>
                <c:pt idx="13">
                  <c:v>265.88</c:v>
                </c:pt>
                <c:pt idx="14">
                  <c:v>268.52</c:v>
                </c:pt>
                <c:pt idx="15">
                  <c:v>205.8</c:v>
                </c:pt>
                <c:pt idx="16">
                  <c:v>232.99</c:v>
                </c:pt>
                <c:pt idx="17">
                  <c:v>147.89</c:v>
                </c:pt>
                <c:pt idx="18">
                  <c:v>221.28</c:v>
                </c:pt>
                <c:pt idx="19">
                  <c:v>170.94</c:v>
                </c:pt>
                <c:pt idx="20">
                  <c:v>217.74</c:v>
                </c:pt>
                <c:pt idx="21">
                  <c:v>200.77</c:v>
                </c:pt>
                <c:pt idx="22">
                  <c:v>209.68</c:v>
                </c:pt>
                <c:pt idx="23">
                  <c:v>204.32</c:v>
                </c:pt>
                <c:pt idx="24">
                  <c:v>215.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4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2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6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6454</c:v>
                </c:pt>
                <c:pt idx="1">
                  <c:v>22888</c:v>
                </c:pt>
                <c:pt idx="2">
                  <c:v>15337</c:v>
                </c:pt>
                <c:pt idx="3">
                  <c:v>28170</c:v>
                </c:pt>
                <c:pt idx="4">
                  <c:v>28069</c:v>
                </c:pt>
                <c:pt idx="5">
                  <c:v>35917</c:v>
                </c:pt>
                <c:pt idx="6">
                  <c:v>126586</c:v>
                </c:pt>
                <c:pt idx="7">
                  <c:v>49069</c:v>
                </c:pt>
                <c:pt idx="8">
                  <c:v>18778</c:v>
                </c:pt>
                <c:pt idx="9">
                  <c:v>22164</c:v>
                </c:pt>
                <c:pt idx="10">
                  <c:v>21506</c:v>
                </c:pt>
                <c:pt idx="11">
                  <c:v>17963</c:v>
                </c:pt>
                <c:pt idx="12">
                  <c:v>22534</c:v>
                </c:pt>
                <c:pt idx="13">
                  <c:v>19209</c:v>
                </c:pt>
                <c:pt idx="14">
                  <c:v>13160</c:v>
                </c:pt>
                <c:pt idx="15">
                  <c:v>20835</c:v>
                </c:pt>
                <c:pt idx="16">
                  <c:v>20169</c:v>
                </c:pt>
                <c:pt idx="17">
                  <c:v>31747</c:v>
                </c:pt>
                <c:pt idx="18">
                  <c:v>87537</c:v>
                </c:pt>
                <c:pt idx="19">
                  <c:v>28794</c:v>
                </c:pt>
                <c:pt idx="20">
                  <c:v>18108</c:v>
                </c:pt>
                <c:pt idx="21">
                  <c:v>18800</c:v>
                </c:pt>
                <c:pt idx="22">
                  <c:v>21516</c:v>
                </c:pt>
                <c:pt idx="23">
                  <c:v>18812</c:v>
                </c:pt>
                <c:pt idx="24">
                  <c:v>286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75.1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2.0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8.5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75.19</c:v>
                </c:pt>
                <c:pt idx="1">
                  <c:v>204.36</c:v>
                </c:pt>
                <c:pt idx="2">
                  <c:v>189.35</c:v>
                </c:pt>
                <c:pt idx="3">
                  <c:v>125.76</c:v>
                </c:pt>
                <c:pt idx="4">
                  <c:v>181.09</c:v>
                </c:pt>
                <c:pt idx="5">
                  <c:v>138.68</c:v>
                </c:pt>
                <c:pt idx="6">
                  <c:v>237.94</c:v>
                </c:pt>
                <c:pt idx="7">
                  <c:v>137.06</c:v>
                </c:pt>
                <c:pt idx="8">
                  <c:v>184.1</c:v>
                </c:pt>
                <c:pt idx="9">
                  <c:v>192.73</c:v>
                </c:pt>
                <c:pt idx="10">
                  <c:v>219.45</c:v>
                </c:pt>
                <c:pt idx="11">
                  <c:v>152.23</c:v>
                </c:pt>
                <c:pt idx="12">
                  <c:v>194.26</c:v>
                </c:pt>
                <c:pt idx="13">
                  <c:v>192.09</c:v>
                </c:pt>
                <c:pt idx="14">
                  <c:v>226.9</c:v>
                </c:pt>
                <c:pt idx="15">
                  <c:v>146.73</c:v>
                </c:pt>
                <c:pt idx="16">
                  <c:v>188.5</c:v>
                </c:pt>
                <c:pt idx="17">
                  <c:v>137.43</c:v>
                </c:pt>
                <c:pt idx="18">
                  <c:v>208.92</c:v>
                </c:pt>
                <c:pt idx="19">
                  <c:v>126.29</c:v>
                </c:pt>
                <c:pt idx="20">
                  <c:v>179.29</c:v>
                </c:pt>
                <c:pt idx="21">
                  <c:v>164.91</c:v>
                </c:pt>
                <c:pt idx="22">
                  <c:v>170.76</c:v>
                </c:pt>
                <c:pt idx="23">
                  <c:v>163.58</c:v>
                </c:pt>
                <c:pt idx="24">
                  <c:v>188.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624,5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47,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3,247,505</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3624509</c:v>
                </c:pt>
                <c:pt idx="1">
                  <c:v>3507582</c:v>
                </c:pt>
                <c:pt idx="2">
                  <c:v>3624509</c:v>
                </c:pt>
                <c:pt idx="3">
                  <c:v>3507582</c:v>
                </c:pt>
                <c:pt idx="4">
                  <c:v>3624509</c:v>
                </c:pt>
                <c:pt idx="5">
                  <c:v>3624509</c:v>
                </c:pt>
                <c:pt idx="6">
                  <c:v>3390658</c:v>
                </c:pt>
                <c:pt idx="7">
                  <c:v>3624509</c:v>
                </c:pt>
                <c:pt idx="8">
                  <c:v>3507582</c:v>
                </c:pt>
                <c:pt idx="9">
                  <c:v>3624509</c:v>
                </c:pt>
                <c:pt idx="10">
                  <c:v>3507582</c:v>
                </c:pt>
                <c:pt idx="11">
                  <c:v>3477143</c:v>
                </c:pt>
                <c:pt idx="12">
                  <c:v>3355761</c:v>
                </c:pt>
                <c:pt idx="13">
                  <c:v>3247505</c:v>
                </c:pt>
                <c:pt idx="14">
                  <c:v>3355761</c:v>
                </c:pt>
                <c:pt idx="15">
                  <c:v>3247505</c:v>
                </c:pt>
                <c:pt idx="16">
                  <c:v>3355761</c:v>
                </c:pt>
                <c:pt idx="17">
                  <c:v>3355761</c:v>
                </c:pt>
                <c:pt idx="18">
                  <c:v>3031088</c:v>
                </c:pt>
                <c:pt idx="19">
                  <c:v>3355761</c:v>
                </c:pt>
                <c:pt idx="20">
                  <c:v>3247505</c:v>
                </c:pt>
                <c:pt idx="21">
                  <c:v>3355761</c:v>
                </c:pt>
                <c:pt idx="22">
                  <c:v>32475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9.2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0.1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40.11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39.27</c:v>
                </c:pt>
                <c:pt idx="1">
                  <c:v>39.27</c:v>
                </c:pt>
                <c:pt idx="2">
                  <c:v>39.27</c:v>
                </c:pt>
                <c:pt idx="3">
                  <c:v>39.27</c:v>
                </c:pt>
                <c:pt idx="4">
                  <c:v>39.27</c:v>
                </c:pt>
                <c:pt idx="5">
                  <c:v>39.27</c:v>
                </c:pt>
                <c:pt idx="6">
                  <c:v>39.27</c:v>
                </c:pt>
                <c:pt idx="7">
                  <c:v>39.27</c:v>
                </c:pt>
                <c:pt idx="8">
                  <c:v>39.27</c:v>
                </c:pt>
                <c:pt idx="9">
                  <c:v>39.27</c:v>
                </c:pt>
                <c:pt idx="10">
                  <c:v>39.27</c:v>
                </c:pt>
                <c:pt idx="11">
                  <c:v>39.71</c:v>
                </c:pt>
                <c:pt idx="12">
                  <c:v>40.11</c:v>
                </c:pt>
                <c:pt idx="13">
                  <c:v>40.11</c:v>
                </c:pt>
                <c:pt idx="14">
                  <c:v>40.11</c:v>
                </c:pt>
                <c:pt idx="15">
                  <c:v>40.11</c:v>
                </c:pt>
                <c:pt idx="16">
                  <c:v>40.11</c:v>
                </c:pt>
                <c:pt idx="17">
                  <c:v>40.11</c:v>
                </c:pt>
                <c:pt idx="18">
                  <c:v>40.06</c:v>
                </c:pt>
                <c:pt idx="19">
                  <c:v>40.11</c:v>
                </c:pt>
                <c:pt idx="20">
                  <c:v>40.11</c:v>
                </c:pt>
                <c:pt idx="21">
                  <c:v>40.11</c:v>
                </c:pt>
                <c:pt idx="22">
                  <c:v>40.1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7,4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2,9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1,2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47467</c:v>
                </c:pt>
                <c:pt idx="1">
                  <c:v>155430</c:v>
                </c:pt>
                <c:pt idx="2">
                  <c:v>82575</c:v>
                </c:pt>
                <c:pt idx="3">
                  <c:v>135336</c:v>
                </c:pt>
                <c:pt idx="4">
                  <c:v>170159</c:v>
                </c:pt>
                <c:pt idx="5">
                  <c:v>191555</c:v>
                </c:pt>
                <c:pt idx="6">
                  <c:v>557776</c:v>
                </c:pt>
                <c:pt idx="7">
                  <c:v>246629</c:v>
                </c:pt>
                <c:pt idx="8">
                  <c:v>148617</c:v>
                </c:pt>
                <c:pt idx="9">
                  <c:v>123865</c:v>
                </c:pt>
                <c:pt idx="10">
                  <c:v>119040</c:v>
                </c:pt>
                <c:pt idx="11">
                  <c:v>140620</c:v>
                </c:pt>
                <c:pt idx="12">
                  <c:v>207414</c:v>
                </c:pt>
                <c:pt idx="13">
                  <c:v>112991</c:v>
                </c:pt>
                <c:pt idx="14">
                  <c:v>83606</c:v>
                </c:pt>
                <c:pt idx="15">
                  <c:v>113281</c:v>
                </c:pt>
                <c:pt idx="16">
                  <c:v>139369</c:v>
                </c:pt>
                <c:pt idx="17">
                  <c:v>164548</c:v>
                </c:pt>
                <c:pt idx="18">
                  <c:v>415055</c:v>
                </c:pt>
                <c:pt idx="19">
                  <c:v>145221</c:v>
                </c:pt>
                <c:pt idx="20">
                  <c:v>104383</c:v>
                </c:pt>
                <c:pt idx="21">
                  <c:v>96632</c:v>
                </c:pt>
                <c:pt idx="22">
                  <c:v>149506</c:v>
                </c:pt>
                <c:pt idx="23">
                  <c:v>125951</c:v>
                </c:pt>
                <c:pt idx="24">
                  <c:v>1612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6.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2.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3.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6.42</c:v>
                </c:pt>
                <c:pt idx="1">
                  <c:v>77.02</c:v>
                </c:pt>
                <c:pt idx="2">
                  <c:v>73.66</c:v>
                </c:pt>
                <c:pt idx="3">
                  <c:v>69.65</c:v>
                </c:pt>
                <c:pt idx="4">
                  <c:v>88.03</c:v>
                </c:pt>
                <c:pt idx="5">
                  <c:v>69.61</c:v>
                </c:pt>
                <c:pt idx="6">
                  <c:v>77.19</c:v>
                </c:pt>
                <c:pt idx="7">
                  <c:v>74.4</c:v>
                </c:pt>
                <c:pt idx="8">
                  <c:v>82.7</c:v>
                </c:pt>
                <c:pt idx="9">
                  <c:v>68.93</c:v>
                </c:pt>
                <c:pt idx="10">
                  <c:v>66.95</c:v>
                </c:pt>
                <c:pt idx="11">
                  <c:v>76.97</c:v>
                </c:pt>
                <c:pt idx="12">
                  <c:v>68.0</c:v>
                </c:pt>
                <c:pt idx="13">
                  <c:v>72.34</c:v>
                </c:pt>
                <c:pt idx="14">
                  <c:v>91.17</c:v>
                </c:pt>
                <c:pt idx="15">
                  <c:v>70.36</c:v>
                </c:pt>
                <c:pt idx="16">
                  <c:v>86.4</c:v>
                </c:pt>
                <c:pt idx="17">
                  <c:v>75.34</c:v>
                </c:pt>
                <c:pt idx="18">
                  <c:v>75.27</c:v>
                </c:pt>
                <c:pt idx="19">
                  <c:v>80.1</c:v>
                </c:pt>
                <c:pt idx="20">
                  <c:v>72.74</c:v>
                </c:pt>
                <c:pt idx="21">
                  <c:v>66.78</c:v>
                </c:pt>
                <c:pt idx="22">
                  <c:v>89.74</c:v>
                </c:pt>
                <c:pt idx="23">
                  <c:v>68.12</c:v>
                </c:pt>
                <c:pt idx="24">
                  <c:v>63.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1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1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8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150</c:v>
                </c:pt>
                <c:pt idx="1">
                  <c:v>22636</c:v>
                </c:pt>
                <c:pt idx="2">
                  <c:v>21124</c:v>
                </c:pt>
                <c:pt idx="3">
                  <c:v>24349</c:v>
                </c:pt>
                <c:pt idx="4">
                  <c:v>18917</c:v>
                </c:pt>
                <c:pt idx="5">
                  <c:v>21580</c:v>
                </c:pt>
                <c:pt idx="6">
                  <c:v>86531</c:v>
                </c:pt>
                <c:pt idx="7">
                  <c:v>30701</c:v>
                </c:pt>
                <c:pt idx="8">
                  <c:v>15453</c:v>
                </c:pt>
                <c:pt idx="9">
                  <c:v>15240</c:v>
                </c:pt>
                <c:pt idx="10">
                  <c:v>15471</c:v>
                </c:pt>
                <c:pt idx="11">
                  <c:v>14058</c:v>
                </c:pt>
                <c:pt idx="12">
                  <c:v>22729</c:v>
                </c:pt>
                <c:pt idx="13">
                  <c:v>18160</c:v>
                </c:pt>
                <c:pt idx="14">
                  <c:v>14873</c:v>
                </c:pt>
                <c:pt idx="15">
                  <c:v>16394</c:v>
                </c:pt>
                <c:pt idx="16">
                  <c:v>13086</c:v>
                </c:pt>
                <c:pt idx="17">
                  <c:v>20222</c:v>
                </c:pt>
                <c:pt idx="18">
                  <c:v>71877</c:v>
                </c:pt>
                <c:pt idx="19">
                  <c:v>15722</c:v>
                </c:pt>
                <c:pt idx="20">
                  <c:v>12851</c:v>
                </c:pt>
                <c:pt idx="21">
                  <c:v>8796</c:v>
                </c:pt>
                <c:pt idx="22">
                  <c:v>13929</c:v>
                </c:pt>
                <c:pt idx="23">
                  <c:v>17136</c:v>
                </c:pt>
                <c:pt idx="24">
                  <c:v>228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7.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5.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72.4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7.74</c:v>
                </c:pt>
                <c:pt idx="1">
                  <c:v>78.6</c:v>
                </c:pt>
                <c:pt idx="2">
                  <c:v>83.83</c:v>
                </c:pt>
                <c:pt idx="3">
                  <c:v>85.44</c:v>
                </c:pt>
                <c:pt idx="4">
                  <c:v>78.17</c:v>
                </c:pt>
                <c:pt idx="5">
                  <c:v>73.9</c:v>
                </c:pt>
                <c:pt idx="6">
                  <c:v>76.17</c:v>
                </c:pt>
                <c:pt idx="7">
                  <c:v>77.72</c:v>
                </c:pt>
                <c:pt idx="8">
                  <c:v>80.91</c:v>
                </c:pt>
                <c:pt idx="9">
                  <c:v>76.58</c:v>
                </c:pt>
                <c:pt idx="10">
                  <c:v>71.96</c:v>
                </c:pt>
                <c:pt idx="11">
                  <c:v>75.58</c:v>
                </c:pt>
                <c:pt idx="12">
                  <c:v>72.16</c:v>
                </c:pt>
                <c:pt idx="13">
                  <c:v>75.98</c:v>
                </c:pt>
                <c:pt idx="14">
                  <c:v>77.46</c:v>
                </c:pt>
                <c:pt idx="15">
                  <c:v>77.33</c:v>
                </c:pt>
                <c:pt idx="16">
                  <c:v>76.08</c:v>
                </c:pt>
                <c:pt idx="17">
                  <c:v>75.74</c:v>
                </c:pt>
                <c:pt idx="18">
                  <c:v>80.94</c:v>
                </c:pt>
                <c:pt idx="19">
                  <c:v>85.45</c:v>
                </c:pt>
                <c:pt idx="20">
                  <c:v>78.36</c:v>
                </c:pt>
                <c:pt idx="21">
                  <c:v>67.66</c:v>
                </c:pt>
                <c:pt idx="22">
                  <c:v>75.29</c:v>
                </c:pt>
                <c:pt idx="23">
                  <c:v>73.23</c:v>
                </c:pt>
                <c:pt idx="24">
                  <c:v>72.4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439,8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850,5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31,6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439877</c:v>
                </c:pt>
                <c:pt idx="1">
                  <c:v>5393786</c:v>
                </c:pt>
                <c:pt idx="2">
                  <c:v>3679686</c:v>
                </c:pt>
                <c:pt idx="3">
                  <c:v>5330310</c:v>
                </c:pt>
                <c:pt idx="4">
                  <c:v>5295621</c:v>
                </c:pt>
                <c:pt idx="5">
                  <c:v>7231997</c:v>
                </c:pt>
                <c:pt idx="6">
                  <c:v>18987477</c:v>
                </c:pt>
                <c:pt idx="7">
                  <c:v>8387985</c:v>
                </c:pt>
                <c:pt idx="8">
                  <c:v>4201301</c:v>
                </c:pt>
                <c:pt idx="9">
                  <c:v>4884722</c:v>
                </c:pt>
                <c:pt idx="10">
                  <c:v>4166351</c:v>
                </c:pt>
                <c:pt idx="11">
                  <c:v>5302207</c:v>
                </c:pt>
                <c:pt idx="12">
                  <c:v>5594232</c:v>
                </c:pt>
                <c:pt idx="13">
                  <c:v>4850520</c:v>
                </c:pt>
                <c:pt idx="14">
                  <c:v>3391510</c:v>
                </c:pt>
                <c:pt idx="15">
                  <c:v>4856512</c:v>
                </c:pt>
                <c:pt idx="16">
                  <c:v>5571193</c:v>
                </c:pt>
                <c:pt idx="17">
                  <c:v>6096777</c:v>
                </c:pt>
                <c:pt idx="18">
                  <c:v>15888217</c:v>
                </c:pt>
                <c:pt idx="19">
                  <c:v>4880422</c:v>
                </c:pt>
                <c:pt idx="20">
                  <c:v>3817081</c:v>
                </c:pt>
                <c:pt idx="21">
                  <c:v>4207691</c:v>
                </c:pt>
                <c:pt idx="22">
                  <c:v>4195717</c:v>
                </c:pt>
                <c:pt idx="23">
                  <c:v>4943292</c:v>
                </c:pt>
                <c:pt idx="24">
                  <c:v>52316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6.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6.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6.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6.69</c:v>
                </c:pt>
                <c:pt idx="1">
                  <c:v>47.73</c:v>
                </c:pt>
                <c:pt idx="2">
                  <c:v>46.96</c:v>
                </c:pt>
                <c:pt idx="3">
                  <c:v>45.84</c:v>
                </c:pt>
                <c:pt idx="4">
                  <c:v>47.73</c:v>
                </c:pt>
                <c:pt idx="5">
                  <c:v>47.37</c:v>
                </c:pt>
                <c:pt idx="6">
                  <c:v>50.86</c:v>
                </c:pt>
                <c:pt idx="7">
                  <c:v>48.53</c:v>
                </c:pt>
                <c:pt idx="8">
                  <c:v>47.33</c:v>
                </c:pt>
                <c:pt idx="9">
                  <c:v>44.97</c:v>
                </c:pt>
                <c:pt idx="10">
                  <c:v>45.78</c:v>
                </c:pt>
                <c:pt idx="11">
                  <c:v>46.79</c:v>
                </c:pt>
                <c:pt idx="12">
                  <c:v>47.02</c:v>
                </c:pt>
                <c:pt idx="13">
                  <c:v>46.81</c:v>
                </c:pt>
                <c:pt idx="14">
                  <c:v>46.68</c:v>
                </c:pt>
                <c:pt idx="15">
                  <c:v>45.68</c:v>
                </c:pt>
                <c:pt idx="16">
                  <c:v>45.88</c:v>
                </c:pt>
                <c:pt idx="17">
                  <c:v>47.14</c:v>
                </c:pt>
                <c:pt idx="18">
                  <c:v>51.72</c:v>
                </c:pt>
                <c:pt idx="19">
                  <c:v>48.34</c:v>
                </c:pt>
                <c:pt idx="20">
                  <c:v>46.02</c:v>
                </c:pt>
                <c:pt idx="21">
                  <c:v>45.06</c:v>
                </c:pt>
                <c:pt idx="22">
                  <c:v>45.57</c:v>
                </c:pt>
                <c:pt idx="23">
                  <c:v>45.01</c:v>
                </c:pt>
                <c:pt idx="24">
                  <c:v>46.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7,4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0,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3,3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17430</c:v>
                </c:pt>
                <c:pt idx="1">
                  <c:v>249574</c:v>
                </c:pt>
                <c:pt idx="2">
                  <c:v>122887</c:v>
                </c:pt>
                <c:pt idx="3">
                  <c:v>229534</c:v>
                </c:pt>
                <c:pt idx="4">
                  <c:v>250844</c:v>
                </c:pt>
                <c:pt idx="5">
                  <c:v>323453</c:v>
                </c:pt>
                <c:pt idx="6">
                  <c:v>888674</c:v>
                </c:pt>
                <c:pt idx="7">
                  <c:v>389073</c:v>
                </c:pt>
                <c:pt idx="8">
                  <c:v>227794</c:v>
                </c:pt>
                <c:pt idx="9">
                  <c:v>203497</c:v>
                </c:pt>
                <c:pt idx="10">
                  <c:v>194688</c:v>
                </c:pt>
                <c:pt idx="11">
                  <c:v>214915</c:v>
                </c:pt>
                <c:pt idx="12">
                  <c:v>342376</c:v>
                </c:pt>
                <c:pt idx="13">
                  <c:v>190166</c:v>
                </c:pt>
                <c:pt idx="14">
                  <c:v>122525</c:v>
                </c:pt>
                <c:pt idx="15">
                  <c:v>183669</c:v>
                </c:pt>
                <c:pt idx="16">
                  <c:v>220032</c:v>
                </c:pt>
                <c:pt idx="17">
                  <c:v>268850</c:v>
                </c:pt>
                <c:pt idx="18">
                  <c:v>692460</c:v>
                </c:pt>
                <c:pt idx="19">
                  <c:v>229649</c:v>
                </c:pt>
                <c:pt idx="20">
                  <c:v>169558</c:v>
                </c:pt>
                <c:pt idx="21">
                  <c:v>160674</c:v>
                </c:pt>
                <c:pt idx="22">
                  <c:v>238592</c:v>
                </c:pt>
                <c:pt idx="23">
                  <c:v>207706</c:v>
                </c:pt>
                <c:pt idx="24">
                  <c:v>2833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8.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8.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5.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8.76</c:v>
                </c:pt>
                <c:pt idx="1">
                  <c:v>75.65</c:v>
                </c:pt>
                <c:pt idx="2">
                  <c:v>74.07</c:v>
                </c:pt>
                <c:pt idx="3">
                  <c:v>71.73</c:v>
                </c:pt>
                <c:pt idx="4">
                  <c:v>83.48</c:v>
                </c:pt>
                <c:pt idx="5">
                  <c:v>75.26</c:v>
                </c:pt>
                <c:pt idx="6">
                  <c:v>78.76</c:v>
                </c:pt>
                <c:pt idx="7">
                  <c:v>75.17</c:v>
                </c:pt>
                <c:pt idx="8">
                  <c:v>81.24</c:v>
                </c:pt>
                <c:pt idx="9">
                  <c:v>70.76</c:v>
                </c:pt>
                <c:pt idx="10">
                  <c:v>70.13</c:v>
                </c:pt>
                <c:pt idx="11">
                  <c:v>75.38</c:v>
                </c:pt>
                <c:pt idx="12">
                  <c:v>68.19</c:v>
                </c:pt>
                <c:pt idx="13">
                  <c:v>78.55</c:v>
                </c:pt>
                <c:pt idx="14">
                  <c:v>85.68</c:v>
                </c:pt>
                <c:pt idx="15">
                  <c:v>71.61</c:v>
                </c:pt>
                <c:pt idx="16">
                  <c:v>85.92</c:v>
                </c:pt>
                <c:pt idx="17">
                  <c:v>75.14</c:v>
                </c:pt>
                <c:pt idx="18">
                  <c:v>79.98</c:v>
                </c:pt>
                <c:pt idx="19">
                  <c:v>79.11</c:v>
                </c:pt>
                <c:pt idx="20">
                  <c:v>74.5</c:v>
                </c:pt>
                <c:pt idx="21">
                  <c:v>71.54</c:v>
                </c:pt>
                <c:pt idx="22">
                  <c:v>88.79</c:v>
                </c:pt>
                <c:pt idx="23">
                  <c:v>71.13</c:v>
                </c:pt>
                <c:pt idx="24">
                  <c:v>65.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6,0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8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9,1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6061</c:v>
                </c:pt>
                <c:pt idx="1">
                  <c:v>62996</c:v>
                </c:pt>
                <c:pt idx="2">
                  <c:v>54852</c:v>
                </c:pt>
                <c:pt idx="3">
                  <c:v>41850</c:v>
                </c:pt>
                <c:pt idx="4">
                  <c:v>33239</c:v>
                </c:pt>
                <c:pt idx="5">
                  <c:v>37766</c:v>
                </c:pt>
                <c:pt idx="6">
                  <c:v>128130</c:v>
                </c:pt>
                <c:pt idx="7">
                  <c:v>43229</c:v>
                </c:pt>
                <c:pt idx="8">
                  <c:v>19617</c:v>
                </c:pt>
                <c:pt idx="9">
                  <c:v>20275</c:v>
                </c:pt>
                <c:pt idx="10">
                  <c:v>25170</c:v>
                </c:pt>
                <c:pt idx="11">
                  <c:v>39409</c:v>
                </c:pt>
                <c:pt idx="12">
                  <c:v>49834</c:v>
                </c:pt>
                <c:pt idx="13">
                  <c:v>52845</c:v>
                </c:pt>
                <c:pt idx="14">
                  <c:v>45292</c:v>
                </c:pt>
                <c:pt idx="15">
                  <c:v>39220</c:v>
                </c:pt>
                <c:pt idx="16">
                  <c:v>23243</c:v>
                </c:pt>
                <c:pt idx="17">
                  <c:v>32402</c:v>
                </c:pt>
                <c:pt idx="18">
                  <c:v>110099</c:v>
                </c:pt>
                <c:pt idx="19">
                  <c:v>23897</c:v>
                </c:pt>
                <c:pt idx="20">
                  <c:v>18939</c:v>
                </c:pt>
                <c:pt idx="21">
                  <c:v>17860</c:v>
                </c:pt>
                <c:pt idx="22">
                  <c:v>29071</c:v>
                </c:pt>
                <c:pt idx="23">
                  <c:v>32219</c:v>
                </c:pt>
                <c:pt idx="24">
                  <c:v>491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2.7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84.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75.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72.71</c:v>
                </c:pt>
                <c:pt idx="1">
                  <c:v>88.11</c:v>
                </c:pt>
                <c:pt idx="2">
                  <c:v>81.26</c:v>
                </c:pt>
                <c:pt idx="3">
                  <c:v>70.45</c:v>
                </c:pt>
                <c:pt idx="4">
                  <c:v>69.98</c:v>
                </c:pt>
                <c:pt idx="5">
                  <c:v>66.14</c:v>
                </c:pt>
                <c:pt idx="6">
                  <c:v>72.97</c:v>
                </c:pt>
                <c:pt idx="7">
                  <c:v>69.84</c:v>
                </c:pt>
                <c:pt idx="8">
                  <c:v>70.06</c:v>
                </c:pt>
                <c:pt idx="9">
                  <c:v>69.43</c:v>
                </c:pt>
                <c:pt idx="10">
                  <c:v>65.89</c:v>
                </c:pt>
                <c:pt idx="11">
                  <c:v>75.79</c:v>
                </c:pt>
                <c:pt idx="12">
                  <c:v>71.6</c:v>
                </c:pt>
                <c:pt idx="13">
                  <c:v>84.96</c:v>
                </c:pt>
                <c:pt idx="14">
                  <c:v>85.62</c:v>
                </c:pt>
                <c:pt idx="15">
                  <c:v>79.55</c:v>
                </c:pt>
                <c:pt idx="16">
                  <c:v>78.52</c:v>
                </c:pt>
                <c:pt idx="17">
                  <c:v>66.53</c:v>
                </c:pt>
                <c:pt idx="18">
                  <c:v>79.32</c:v>
                </c:pt>
                <c:pt idx="19">
                  <c:v>80.19</c:v>
                </c:pt>
                <c:pt idx="20">
                  <c:v>74.86</c:v>
                </c:pt>
                <c:pt idx="21">
                  <c:v>71.73</c:v>
                </c:pt>
                <c:pt idx="22">
                  <c:v>76.3</c:v>
                </c:pt>
                <c:pt idx="23">
                  <c:v>73.56</c:v>
                </c:pt>
                <c:pt idx="24">
                  <c:v>75.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6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6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3363</c:v>
                </c:pt>
                <c:pt idx="1">
                  <c:v>7361</c:v>
                </c:pt>
                <c:pt idx="2">
                  <c:v>6065</c:v>
                </c:pt>
                <c:pt idx="3">
                  <c:v>6250</c:v>
                </c:pt>
                <c:pt idx="4">
                  <c:v>6242</c:v>
                </c:pt>
                <c:pt idx="5">
                  <c:v>8549</c:v>
                </c:pt>
                <c:pt idx="6">
                  <c:v>31722</c:v>
                </c:pt>
                <c:pt idx="7">
                  <c:v>10971</c:v>
                </c:pt>
                <c:pt idx="8">
                  <c:v>6236</c:v>
                </c:pt>
                <c:pt idx="9">
                  <c:v>5216</c:v>
                </c:pt>
                <c:pt idx="10">
                  <c:v>6689</c:v>
                </c:pt>
                <c:pt idx="11">
                  <c:v>7222</c:v>
                </c:pt>
                <c:pt idx="12">
                  <c:v>8869</c:v>
                </c:pt>
                <c:pt idx="13">
                  <c:v>9670</c:v>
                </c:pt>
                <c:pt idx="14">
                  <c:v>8047</c:v>
                </c:pt>
                <c:pt idx="15">
                  <c:v>5834</c:v>
                </c:pt>
                <c:pt idx="16">
                  <c:v>7502</c:v>
                </c:pt>
                <c:pt idx="17">
                  <c:v>8476</c:v>
                </c:pt>
                <c:pt idx="18">
                  <c:v>31186</c:v>
                </c:pt>
                <c:pt idx="19">
                  <c:v>4976</c:v>
                </c:pt>
                <c:pt idx="20">
                  <c:v>6451</c:v>
                </c:pt>
                <c:pt idx="21">
                  <c:v>6173</c:v>
                </c:pt>
                <c:pt idx="22">
                  <c:v>6775</c:v>
                </c:pt>
                <c:pt idx="23">
                  <c:v>9137</c:v>
                </c:pt>
                <c:pt idx="24">
                  <c:v>868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6.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3.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6.48</c:v>
                </c:pt>
                <c:pt idx="1">
                  <c:v>64.01</c:v>
                </c:pt>
                <c:pt idx="2">
                  <c:v>68.92</c:v>
                </c:pt>
                <c:pt idx="3">
                  <c:v>65.79</c:v>
                </c:pt>
                <c:pt idx="4">
                  <c:v>61.2</c:v>
                </c:pt>
                <c:pt idx="5">
                  <c:v>69.5</c:v>
                </c:pt>
                <c:pt idx="6">
                  <c:v>75.35</c:v>
                </c:pt>
                <c:pt idx="7">
                  <c:v>69.88</c:v>
                </c:pt>
                <c:pt idx="8">
                  <c:v>65.64</c:v>
                </c:pt>
                <c:pt idx="9">
                  <c:v>56.09</c:v>
                </c:pt>
                <c:pt idx="10">
                  <c:v>73.51</c:v>
                </c:pt>
                <c:pt idx="11">
                  <c:v>61.73</c:v>
                </c:pt>
                <c:pt idx="12">
                  <c:v>60.33</c:v>
                </c:pt>
                <c:pt idx="13">
                  <c:v>63.62</c:v>
                </c:pt>
                <c:pt idx="14">
                  <c:v>67.06</c:v>
                </c:pt>
                <c:pt idx="15">
                  <c:v>58.93</c:v>
                </c:pt>
                <c:pt idx="16">
                  <c:v>65.23</c:v>
                </c:pt>
                <c:pt idx="17">
                  <c:v>67.81</c:v>
                </c:pt>
                <c:pt idx="18">
                  <c:v>69.92</c:v>
                </c:pt>
                <c:pt idx="19">
                  <c:v>71.09</c:v>
                </c:pt>
                <c:pt idx="20">
                  <c:v>64.51</c:v>
                </c:pt>
                <c:pt idx="21">
                  <c:v>55.12</c:v>
                </c:pt>
                <c:pt idx="22">
                  <c:v>62.73</c:v>
                </c:pt>
                <c:pt idx="23">
                  <c:v>60.11</c:v>
                </c:pt>
                <c:pt idx="24">
                  <c:v>55.6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9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9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981</c:v>
                </c:pt>
                <c:pt idx="1">
                  <c:v>5642</c:v>
                </c:pt>
                <c:pt idx="2">
                  <c:v>3353</c:v>
                </c:pt>
                <c:pt idx="3">
                  <c:v>5577</c:v>
                </c:pt>
                <c:pt idx="4">
                  <c:v>5192</c:v>
                </c:pt>
                <c:pt idx="5">
                  <c:v>5845</c:v>
                </c:pt>
                <c:pt idx="6">
                  <c:v>28406</c:v>
                </c:pt>
                <c:pt idx="7">
                  <c:v>8435</c:v>
                </c:pt>
                <c:pt idx="8">
                  <c:v>5267</c:v>
                </c:pt>
                <c:pt idx="9">
                  <c:v>3915</c:v>
                </c:pt>
                <c:pt idx="10">
                  <c:v>3991</c:v>
                </c:pt>
                <c:pt idx="11">
                  <c:v>5223</c:v>
                </c:pt>
                <c:pt idx="12">
                  <c:v>7613</c:v>
                </c:pt>
                <c:pt idx="13">
                  <c:v>4940</c:v>
                </c:pt>
                <c:pt idx="14">
                  <c:v>4076</c:v>
                </c:pt>
                <c:pt idx="15">
                  <c:v>6558</c:v>
                </c:pt>
                <c:pt idx="16">
                  <c:v>5013</c:v>
                </c:pt>
                <c:pt idx="17">
                  <c:v>5299</c:v>
                </c:pt>
                <c:pt idx="18">
                  <c:v>24862</c:v>
                </c:pt>
                <c:pt idx="19">
                  <c:v>6762</c:v>
                </c:pt>
                <c:pt idx="20">
                  <c:v>4658</c:v>
                </c:pt>
                <c:pt idx="21">
                  <c:v>3431</c:v>
                </c:pt>
                <c:pt idx="22">
                  <c:v>3851</c:v>
                </c:pt>
                <c:pt idx="23">
                  <c:v>6258</c:v>
                </c:pt>
                <c:pt idx="24">
                  <c:v>61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1.8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6.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7.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1.87</c:v>
                </c:pt>
                <c:pt idx="1">
                  <c:v>65.6</c:v>
                </c:pt>
                <c:pt idx="2">
                  <c:v>63.26</c:v>
                </c:pt>
                <c:pt idx="3">
                  <c:v>67.19</c:v>
                </c:pt>
                <c:pt idx="4">
                  <c:v>73.13</c:v>
                </c:pt>
                <c:pt idx="5">
                  <c:v>62.18</c:v>
                </c:pt>
                <c:pt idx="6">
                  <c:v>76.77</c:v>
                </c:pt>
                <c:pt idx="7">
                  <c:v>69.14</c:v>
                </c:pt>
                <c:pt idx="8">
                  <c:v>65.02</c:v>
                </c:pt>
                <c:pt idx="9">
                  <c:v>62.14</c:v>
                </c:pt>
                <c:pt idx="10">
                  <c:v>64.37</c:v>
                </c:pt>
                <c:pt idx="11">
                  <c:v>64.48</c:v>
                </c:pt>
                <c:pt idx="12">
                  <c:v>68.59</c:v>
                </c:pt>
                <c:pt idx="13">
                  <c:v>66.76</c:v>
                </c:pt>
                <c:pt idx="14">
                  <c:v>67.93</c:v>
                </c:pt>
                <c:pt idx="15">
                  <c:v>69.77</c:v>
                </c:pt>
                <c:pt idx="16">
                  <c:v>80.85</c:v>
                </c:pt>
                <c:pt idx="17">
                  <c:v>59.54</c:v>
                </c:pt>
                <c:pt idx="18">
                  <c:v>79.69</c:v>
                </c:pt>
                <c:pt idx="19">
                  <c:v>93.92</c:v>
                </c:pt>
                <c:pt idx="20">
                  <c:v>71.66</c:v>
                </c:pt>
                <c:pt idx="21">
                  <c:v>67.27</c:v>
                </c:pt>
                <c:pt idx="22">
                  <c:v>71.31</c:v>
                </c:pt>
                <c:pt idx="23">
                  <c:v>65.87</c:v>
                </c:pt>
                <c:pt idx="24">
                  <c:v>57.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1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1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712</c:v>
                </c:pt>
                <c:pt idx="1">
                  <c:v>5202</c:v>
                </c:pt>
                <c:pt idx="2">
                  <c:v>4831</c:v>
                </c:pt>
                <c:pt idx="3">
                  <c:v>5389</c:v>
                </c:pt>
                <c:pt idx="4">
                  <c:v>3221</c:v>
                </c:pt>
                <c:pt idx="5">
                  <c:v>5309</c:v>
                </c:pt>
                <c:pt idx="6">
                  <c:v>18425</c:v>
                </c:pt>
                <c:pt idx="7">
                  <c:v>6159</c:v>
                </c:pt>
                <c:pt idx="8">
                  <c:v>2728</c:v>
                </c:pt>
                <c:pt idx="9">
                  <c:v>2622</c:v>
                </c:pt>
                <c:pt idx="10">
                  <c:v>2961</c:v>
                </c:pt>
                <c:pt idx="11">
                  <c:v>3835</c:v>
                </c:pt>
                <c:pt idx="12">
                  <c:v>4756</c:v>
                </c:pt>
                <c:pt idx="13">
                  <c:v>5112</c:v>
                </c:pt>
                <c:pt idx="14">
                  <c:v>5009</c:v>
                </c:pt>
                <c:pt idx="15">
                  <c:v>2822</c:v>
                </c:pt>
                <c:pt idx="16">
                  <c:v>3171</c:v>
                </c:pt>
                <c:pt idx="17">
                  <c:v>6033</c:v>
                </c:pt>
                <c:pt idx="18">
                  <c:v>15629</c:v>
                </c:pt>
                <c:pt idx="19">
                  <c:v>2628</c:v>
                </c:pt>
                <c:pt idx="20">
                  <c:v>2997</c:v>
                </c:pt>
                <c:pt idx="21">
                  <c:v>1723</c:v>
                </c:pt>
                <c:pt idx="22">
                  <c:v>3251</c:v>
                </c:pt>
                <c:pt idx="23">
                  <c:v>4083</c:v>
                </c:pt>
                <c:pt idx="24">
                  <c:v>41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6.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2.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8.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6.77</c:v>
                </c:pt>
                <c:pt idx="1">
                  <c:v>81.28</c:v>
                </c:pt>
                <c:pt idx="2">
                  <c:v>81.88</c:v>
                </c:pt>
                <c:pt idx="3">
                  <c:v>68.22</c:v>
                </c:pt>
                <c:pt idx="4">
                  <c:v>68.53</c:v>
                </c:pt>
                <c:pt idx="5">
                  <c:v>63.96</c:v>
                </c:pt>
                <c:pt idx="6">
                  <c:v>73.12</c:v>
                </c:pt>
                <c:pt idx="7">
                  <c:v>68.43</c:v>
                </c:pt>
                <c:pt idx="8">
                  <c:v>77.94</c:v>
                </c:pt>
                <c:pt idx="9">
                  <c:v>59.59</c:v>
                </c:pt>
                <c:pt idx="10">
                  <c:v>63.0</c:v>
                </c:pt>
                <c:pt idx="11">
                  <c:v>60.87</c:v>
                </c:pt>
                <c:pt idx="12">
                  <c:v>60.2</c:v>
                </c:pt>
                <c:pt idx="13">
                  <c:v>72.0</c:v>
                </c:pt>
                <c:pt idx="14">
                  <c:v>79.51</c:v>
                </c:pt>
                <c:pt idx="15">
                  <c:v>61.35</c:v>
                </c:pt>
                <c:pt idx="16">
                  <c:v>67.47</c:v>
                </c:pt>
                <c:pt idx="17">
                  <c:v>74.48</c:v>
                </c:pt>
                <c:pt idx="18">
                  <c:v>75.14</c:v>
                </c:pt>
                <c:pt idx="19">
                  <c:v>65.7</c:v>
                </c:pt>
                <c:pt idx="20">
                  <c:v>68.11</c:v>
                </c:pt>
                <c:pt idx="21">
                  <c:v>63.81</c:v>
                </c:pt>
                <c:pt idx="22">
                  <c:v>63.75</c:v>
                </c:pt>
                <c:pt idx="23">
                  <c:v>62.82</c:v>
                </c:pt>
                <c:pt idx="24">
                  <c:v>68.9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9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0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1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6991</c:v>
                </c:pt>
                <c:pt idx="1">
                  <c:v>17570</c:v>
                </c:pt>
                <c:pt idx="2">
                  <c:v>21174</c:v>
                </c:pt>
                <c:pt idx="3">
                  <c:v>15500</c:v>
                </c:pt>
                <c:pt idx="4">
                  <c:v>15118</c:v>
                </c:pt>
                <c:pt idx="5">
                  <c:v>18152</c:v>
                </c:pt>
                <c:pt idx="6">
                  <c:v>44668</c:v>
                </c:pt>
                <c:pt idx="7">
                  <c:v>19802</c:v>
                </c:pt>
                <c:pt idx="8">
                  <c:v>12804</c:v>
                </c:pt>
                <c:pt idx="9">
                  <c:v>13792</c:v>
                </c:pt>
                <c:pt idx="10">
                  <c:v>14602</c:v>
                </c:pt>
                <c:pt idx="11">
                  <c:v>17339</c:v>
                </c:pt>
                <c:pt idx="12">
                  <c:v>18556</c:v>
                </c:pt>
                <c:pt idx="13">
                  <c:v>21067</c:v>
                </c:pt>
                <c:pt idx="14">
                  <c:v>21538</c:v>
                </c:pt>
                <c:pt idx="15">
                  <c:v>15151</c:v>
                </c:pt>
                <c:pt idx="16">
                  <c:v>20059</c:v>
                </c:pt>
                <c:pt idx="17">
                  <c:v>21185</c:v>
                </c:pt>
                <c:pt idx="18">
                  <c:v>34970</c:v>
                </c:pt>
                <c:pt idx="19">
                  <c:v>12982</c:v>
                </c:pt>
                <c:pt idx="20">
                  <c:v>10337</c:v>
                </c:pt>
                <c:pt idx="21">
                  <c:v>10399</c:v>
                </c:pt>
                <c:pt idx="22">
                  <c:v>14901</c:v>
                </c:pt>
                <c:pt idx="23">
                  <c:v>18869</c:v>
                </c:pt>
                <c:pt idx="24">
                  <c:v>151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9.2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8.7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2.1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9.24</c:v>
                </c:pt>
                <c:pt idx="1">
                  <c:v>30.03</c:v>
                </c:pt>
                <c:pt idx="2">
                  <c:v>30.38</c:v>
                </c:pt>
                <c:pt idx="3">
                  <c:v>28.76</c:v>
                </c:pt>
                <c:pt idx="4">
                  <c:v>31.17</c:v>
                </c:pt>
                <c:pt idx="5">
                  <c:v>29.95</c:v>
                </c:pt>
                <c:pt idx="6">
                  <c:v>30.57</c:v>
                </c:pt>
                <c:pt idx="7">
                  <c:v>32.62</c:v>
                </c:pt>
                <c:pt idx="8">
                  <c:v>31.54</c:v>
                </c:pt>
                <c:pt idx="9">
                  <c:v>30.79</c:v>
                </c:pt>
                <c:pt idx="10">
                  <c:v>33.49</c:v>
                </c:pt>
                <c:pt idx="11">
                  <c:v>32.96</c:v>
                </c:pt>
                <c:pt idx="12">
                  <c:v>28.81</c:v>
                </c:pt>
                <c:pt idx="13">
                  <c:v>28.7</c:v>
                </c:pt>
                <c:pt idx="14">
                  <c:v>28.83</c:v>
                </c:pt>
                <c:pt idx="15">
                  <c:v>32.24</c:v>
                </c:pt>
                <c:pt idx="16">
                  <c:v>28.49</c:v>
                </c:pt>
                <c:pt idx="17">
                  <c:v>31.86</c:v>
                </c:pt>
                <c:pt idx="18">
                  <c:v>31.79</c:v>
                </c:pt>
                <c:pt idx="19">
                  <c:v>31.66</c:v>
                </c:pt>
                <c:pt idx="20">
                  <c:v>33.13</c:v>
                </c:pt>
                <c:pt idx="21">
                  <c:v>31.61</c:v>
                </c:pt>
                <c:pt idx="22">
                  <c:v>30.53</c:v>
                </c:pt>
                <c:pt idx="23">
                  <c:v>29.86</c:v>
                </c:pt>
                <c:pt idx="24">
                  <c:v>32.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20,6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99,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3,383,829</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3420649</c:v>
                </c:pt>
                <c:pt idx="1">
                  <c:v>3313349</c:v>
                </c:pt>
                <c:pt idx="2">
                  <c:v>3429820</c:v>
                </c:pt>
                <c:pt idx="3">
                  <c:v>3344714</c:v>
                </c:pt>
                <c:pt idx="4">
                  <c:v>3473319</c:v>
                </c:pt>
                <c:pt idx="5">
                  <c:v>3490058</c:v>
                </c:pt>
                <c:pt idx="6">
                  <c:v>3227889</c:v>
                </c:pt>
                <c:pt idx="7">
                  <c:v>3433819</c:v>
                </c:pt>
                <c:pt idx="8">
                  <c:v>3313744</c:v>
                </c:pt>
                <c:pt idx="9">
                  <c:v>3449408</c:v>
                </c:pt>
                <c:pt idx="10">
                  <c:v>3327469</c:v>
                </c:pt>
                <c:pt idx="11">
                  <c:v>3462363</c:v>
                </c:pt>
                <c:pt idx="12">
                  <c:v>3485612</c:v>
                </c:pt>
                <c:pt idx="13">
                  <c:v>3399682</c:v>
                </c:pt>
                <c:pt idx="14">
                  <c:v>3497435</c:v>
                </c:pt>
                <c:pt idx="15">
                  <c:v>3394739</c:v>
                </c:pt>
                <c:pt idx="16">
                  <c:v>3556250</c:v>
                </c:pt>
                <c:pt idx="17">
                  <c:v>3505287</c:v>
                </c:pt>
                <c:pt idx="18">
                  <c:v>3153483</c:v>
                </c:pt>
                <c:pt idx="19">
                  <c:v>3497467</c:v>
                </c:pt>
                <c:pt idx="20">
                  <c:v>3406056</c:v>
                </c:pt>
                <c:pt idx="21">
                  <c:v>3496989</c:v>
                </c:pt>
                <c:pt idx="22">
                  <c:v>33838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9.1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9.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9.49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9.14</c:v>
                </c:pt>
                <c:pt idx="1">
                  <c:v>9.14</c:v>
                </c:pt>
                <c:pt idx="2">
                  <c:v>9.15</c:v>
                </c:pt>
                <c:pt idx="3">
                  <c:v>9.17</c:v>
                </c:pt>
                <c:pt idx="4">
                  <c:v>9.21</c:v>
                </c:pt>
                <c:pt idx="5">
                  <c:v>9.19</c:v>
                </c:pt>
                <c:pt idx="6">
                  <c:v>9.17</c:v>
                </c:pt>
                <c:pt idx="7">
                  <c:v>9.16</c:v>
                </c:pt>
                <c:pt idx="8">
                  <c:v>9.15</c:v>
                </c:pt>
                <c:pt idx="9">
                  <c:v>9.16</c:v>
                </c:pt>
                <c:pt idx="10">
                  <c:v>9.16</c:v>
                </c:pt>
                <c:pt idx="11">
                  <c:v>9.33</c:v>
                </c:pt>
                <c:pt idx="12">
                  <c:v>9.47</c:v>
                </c:pt>
                <c:pt idx="13">
                  <c:v>9.49</c:v>
                </c:pt>
                <c:pt idx="14">
                  <c:v>9.48</c:v>
                </c:pt>
                <c:pt idx="15">
                  <c:v>9.5</c:v>
                </c:pt>
                <c:pt idx="16">
                  <c:v>9.53</c:v>
                </c:pt>
                <c:pt idx="17">
                  <c:v>9.5</c:v>
                </c:pt>
                <c:pt idx="18">
                  <c:v>9.48</c:v>
                </c:pt>
                <c:pt idx="19">
                  <c:v>9.49</c:v>
                </c:pt>
                <c:pt idx="20">
                  <c:v>9.51</c:v>
                </c:pt>
                <c:pt idx="21">
                  <c:v>9.49</c:v>
                </c:pt>
                <c:pt idx="22">
                  <c:v>9.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0,3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0,0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2,9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0317</c:v>
                </c:pt>
                <c:pt idx="1">
                  <c:v>138653</c:v>
                </c:pt>
                <c:pt idx="2">
                  <c:v>114941</c:v>
                </c:pt>
                <c:pt idx="3">
                  <c:v>127903</c:v>
                </c:pt>
                <c:pt idx="4">
                  <c:v>133693</c:v>
                </c:pt>
                <c:pt idx="5">
                  <c:v>166685</c:v>
                </c:pt>
                <c:pt idx="6">
                  <c:v>499952</c:v>
                </c:pt>
                <c:pt idx="7">
                  <c:v>192797</c:v>
                </c:pt>
                <c:pt idx="8">
                  <c:v>103339</c:v>
                </c:pt>
                <c:pt idx="9">
                  <c:v>110789</c:v>
                </c:pt>
                <c:pt idx="10">
                  <c:v>111948</c:v>
                </c:pt>
                <c:pt idx="11">
                  <c:v>131802</c:v>
                </c:pt>
                <c:pt idx="12">
                  <c:v>130016</c:v>
                </c:pt>
                <c:pt idx="13">
                  <c:v>140099</c:v>
                </c:pt>
                <c:pt idx="14">
                  <c:v>116538</c:v>
                </c:pt>
                <c:pt idx="15">
                  <c:v>127148</c:v>
                </c:pt>
                <c:pt idx="16">
                  <c:v>134489</c:v>
                </c:pt>
                <c:pt idx="17">
                  <c:v>172192</c:v>
                </c:pt>
                <c:pt idx="18">
                  <c:v>448006</c:v>
                </c:pt>
                <c:pt idx="19">
                  <c:v>101183</c:v>
                </c:pt>
                <c:pt idx="20">
                  <c:v>94335</c:v>
                </c:pt>
                <c:pt idx="21">
                  <c:v>104358</c:v>
                </c:pt>
                <c:pt idx="22">
                  <c:v>119063</c:v>
                </c:pt>
                <c:pt idx="23">
                  <c:v>140742</c:v>
                </c:pt>
                <c:pt idx="24">
                  <c:v>13291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0.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9.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0.2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0.42</c:v>
                </c:pt>
                <c:pt idx="1">
                  <c:v>39.54</c:v>
                </c:pt>
                <c:pt idx="2">
                  <c:v>40.25</c:v>
                </c:pt>
                <c:pt idx="3">
                  <c:v>40.36</c:v>
                </c:pt>
                <c:pt idx="4">
                  <c:v>40.85</c:v>
                </c:pt>
                <c:pt idx="5">
                  <c:v>40.43</c:v>
                </c:pt>
                <c:pt idx="6">
                  <c:v>45.55</c:v>
                </c:pt>
                <c:pt idx="7">
                  <c:v>43.29</c:v>
                </c:pt>
                <c:pt idx="8">
                  <c:v>38.65</c:v>
                </c:pt>
                <c:pt idx="9">
                  <c:v>37.59</c:v>
                </c:pt>
                <c:pt idx="10">
                  <c:v>38.76</c:v>
                </c:pt>
                <c:pt idx="11">
                  <c:v>39.03</c:v>
                </c:pt>
                <c:pt idx="12">
                  <c:v>39.7</c:v>
                </c:pt>
                <c:pt idx="13">
                  <c:v>39.61</c:v>
                </c:pt>
                <c:pt idx="14">
                  <c:v>39.68</c:v>
                </c:pt>
                <c:pt idx="15">
                  <c:v>39.22</c:v>
                </c:pt>
                <c:pt idx="16">
                  <c:v>39.23</c:v>
                </c:pt>
                <c:pt idx="17">
                  <c:v>43.18</c:v>
                </c:pt>
                <c:pt idx="18">
                  <c:v>45.65</c:v>
                </c:pt>
                <c:pt idx="19">
                  <c:v>41.05</c:v>
                </c:pt>
                <c:pt idx="20">
                  <c:v>39.24</c:v>
                </c:pt>
                <c:pt idx="21">
                  <c:v>38.34</c:v>
                </c:pt>
                <c:pt idx="22">
                  <c:v>38.81</c:v>
                </c:pt>
                <c:pt idx="23">
                  <c:v>40.33</c:v>
                </c:pt>
                <c:pt idx="24">
                  <c:v>40.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3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1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392</c:v>
                </c:pt>
                <c:pt idx="1">
                  <c:v>4237</c:v>
                </c:pt>
                <c:pt idx="2">
                  <c:v>3174</c:v>
                </c:pt>
                <c:pt idx="3">
                  <c:v>4320</c:v>
                </c:pt>
                <c:pt idx="4">
                  <c:v>4456</c:v>
                </c:pt>
                <c:pt idx="5">
                  <c:v>6062</c:v>
                </c:pt>
                <c:pt idx="6">
                  <c:v>7504</c:v>
                </c:pt>
                <c:pt idx="7">
                  <c:v>9783</c:v>
                </c:pt>
                <c:pt idx="8">
                  <c:v>5754</c:v>
                </c:pt>
                <c:pt idx="9">
                  <c:v>4440</c:v>
                </c:pt>
                <c:pt idx="10">
                  <c:v>3604</c:v>
                </c:pt>
                <c:pt idx="11">
                  <c:v>5437</c:v>
                </c:pt>
                <c:pt idx="12">
                  <c:v>4837</c:v>
                </c:pt>
                <c:pt idx="13">
                  <c:v>3277</c:v>
                </c:pt>
                <c:pt idx="14">
                  <c:v>3186</c:v>
                </c:pt>
                <c:pt idx="15">
                  <c:v>5765</c:v>
                </c:pt>
                <c:pt idx="16">
                  <c:v>4604</c:v>
                </c:pt>
                <c:pt idx="17">
                  <c:v>4206</c:v>
                </c:pt>
                <c:pt idx="18">
                  <c:v>7955</c:v>
                </c:pt>
                <c:pt idx="19">
                  <c:v>4136</c:v>
                </c:pt>
                <c:pt idx="20">
                  <c:v>3303</c:v>
                </c:pt>
                <c:pt idx="21">
                  <c:v>5599</c:v>
                </c:pt>
                <c:pt idx="22">
                  <c:v>5795</c:v>
                </c:pt>
                <c:pt idx="23">
                  <c:v>4747</c:v>
                </c:pt>
                <c:pt idx="24">
                  <c:v>414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8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46</c:v>
                </c:pt>
                <c:pt idx="1">
                  <c:v>16.3</c:v>
                </c:pt>
                <c:pt idx="2">
                  <c:v>18.78</c:v>
                </c:pt>
                <c:pt idx="3">
                  <c:v>18.78</c:v>
                </c:pt>
                <c:pt idx="4">
                  <c:v>18.26</c:v>
                </c:pt>
                <c:pt idx="5">
                  <c:v>15.58</c:v>
                </c:pt>
                <c:pt idx="6">
                  <c:v>18.76</c:v>
                </c:pt>
                <c:pt idx="7">
                  <c:v>14.34</c:v>
                </c:pt>
                <c:pt idx="8">
                  <c:v>16.92</c:v>
                </c:pt>
                <c:pt idx="9">
                  <c:v>19.22</c:v>
                </c:pt>
                <c:pt idx="10">
                  <c:v>19.48</c:v>
                </c:pt>
                <c:pt idx="11">
                  <c:v>15.81</c:v>
                </c:pt>
                <c:pt idx="12">
                  <c:v>18.39</c:v>
                </c:pt>
                <c:pt idx="13">
                  <c:v>19.62</c:v>
                </c:pt>
                <c:pt idx="14">
                  <c:v>19.43</c:v>
                </c:pt>
                <c:pt idx="15">
                  <c:v>15.79</c:v>
                </c:pt>
                <c:pt idx="16">
                  <c:v>17.05</c:v>
                </c:pt>
                <c:pt idx="17">
                  <c:v>17.38</c:v>
                </c:pt>
                <c:pt idx="18">
                  <c:v>14.68</c:v>
                </c:pt>
                <c:pt idx="19">
                  <c:v>18.14</c:v>
                </c:pt>
                <c:pt idx="20">
                  <c:v>19.54</c:v>
                </c:pt>
                <c:pt idx="21">
                  <c:v>19.44</c:v>
                </c:pt>
                <c:pt idx="22">
                  <c:v>16.37</c:v>
                </c:pt>
                <c:pt idx="23">
                  <c:v>18.99</c:v>
                </c:pt>
                <c:pt idx="24">
                  <c:v>18.8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217</c:v>
                </c:pt>
                <c:pt idx="1">
                  <c:v>1859</c:v>
                </c:pt>
                <c:pt idx="2">
                  <c:v>1242</c:v>
                </c:pt>
                <c:pt idx="3">
                  <c:v>1266</c:v>
                </c:pt>
                <c:pt idx="4">
                  <c:v>1694</c:v>
                </c:pt>
                <c:pt idx="5">
                  <c:v>2499</c:v>
                </c:pt>
                <c:pt idx="6">
                  <c:v>2734</c:v>
                </c:pt>
                <c:pt idx="7">
                  <c:v>5876</c:v>
                </c:pt>
                <c:pt idx="8">
                  <c:v>2691</c:v>
                </c:pt>
                <c:pt idx="9">
                  <c:v>2714</c:v>
                </c:pt>
                <c:pt idx="10">
                  <c:v>1564</c:v>
                </c:pt>
                <c:pt idx="11">
                  <c:v>2753</c:v>
                </c:pt>
                <c:pt idx="12">
                  <c:v>2249</c:v>
                </c:pt>
                <c:pt idx="13">
                  <c:v>1125</c:v>
                </c:pt>
                <c:pt idx="14">
                  <c:v>867</c:v>
                </c:pt>
                <c:pt idx="15">
                  <c:v>3160</c:v>
                </c:pt>
                <c:pt idx="16">
                  <c:v>1918</c:v>
                </c:pt>
                <c:pt idx="17">
                  <c:v>1919</c:v>
                </c:pt>
                <c:pt idx="18">
                  <c:v>3528</c:v>
                </c:pt>
                <c:pt idx="19">
                  <c:v>2937</c:v>
                </c:pt>
                <c:pt idx="20">
                  <c:v>1244</c:v>
                </c:pt>
                <c:pt idx="21">
                  <c:v>2032</c:v>
                </c:pt>
                <c:pt idx="22">
                  <c:v>2054</c:v>
                </c:pt>
                <c:pt idx="23">
                  <c:v>1656</c:v>
                </c:pt>
                <c:pt idx="24">
                  <c:v>160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2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24</c:v>
                </c:pt>
                <c:pt idx="1">
                  <c:v>15.75</c:v>
                </c:pt>
                <c:pt idx="2">
                  <c:v>19.11</c:v>
                </c:pt>
                <c:pt idx="3">
                  <c:v>18.9</c:v>
                </c:pt>
                <c:pt idx="4">
                  <c:v>18.02</c:v>
                </c:pt>
                <c:pt idx="5">
                  <c:v>15.15</c:v>
                </c:pt>
                <c:pt idx="6">
                  <c:v>18.73</c:v>
                </c:pt>
                <c:pt idx="7">
                  <c:v>14.12</c:v>
                </c:pt>
                <c:pt idx="8">
                  <c:v>16.92</c:v>
                </c:pt>
                <c:pt idx="9">
                  <c:v>19.11</c:v>
                </c:pt>
                <c:pt idx="10">
                  <c:v>20.31</c:v>
                </c:pt>
                <c:pt idx="11">
                  <c:v>15.55</c:v>
                </c:pt>
                <c:pt idx="12">
                  <c:v>18.14</c:v>
                </c:pt>
                <c:pt idx="13">
                  <c:v>19.74</c:v>
                </c:pt>
                <c:pt idx="14">
                  <c:v>19.7</c:v>
                </c:pt>
                <c:pt idx="15">
                  <c:v>15.19</c:v>
                </c:pt>
                <c:pt idx="16">
                  <c:v>16.82</c:v>
                </c:pt>
                <c:pt idx="17">
                  <c:v>16.83</c:v>
                </c:pt>
                <c:pt idx="18">
                  <c:v>14.7</c:v>
                </c:pt>
                <c:pt idx="19">
                  <c:v>18.71</c:v>
                </c:pt>
                <c:pt idx="20">
                  <c:v>19.44</c:v>
                </c:pt>
                <c:pt idx="21">
                  <c:v>19.35</c:v>
                </c:pt>
                <c:pt idx="22">
                  <c:v>16.43</c:v>
                </c:pt>
                <c:pt idx="23">
                  <c:v>19.26</c:v>
                </c:pt>
                <c:pt idx="24">
                  <c:v>19.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10</c:v>
                </c:pt>
                <c:pt idx="1">
                  <c:v>985</c:v>
                </c:pt>
                <c:pt idx="2">
                  <c:v>161</c:v>
                </c:pt>
                <c:pt idx="3">
                  <c:v>307</c:v>
                </c:pt>
                <c:pt idx="4">
                  <c:v>309</c:v>
                </c:pt>
                <c:pt idx="5">
                  <c:v>832</c:v>
                </c:pt>
                <c:pt idx="6">
                  <c:v>1160</c:v>
                </c:pt>
                <c:pt idx="7">
                  <c:v>1373</c:v>
                </c:pt>
                <c:pt idx="8">
                  <c:v>900</c:v>
                </c:pt>
                <c:pt idx="9">
                  <c:v>577</c:v>
                </c:pt>
                <c:pt idx="10">
                  <c:v>341</c:v>
                </c:pt>
                <c:pt idx="11">
                  <c:v>1684</c:v>
                </c:pt>
                <c:pt idx="12">
                  <c:v>1038</c:v>
                </c:pt>
                <c:pt idx="13">
                  <c:v>647</c:v>
                </c:pt>
                <c:pt idx="14">
                  <c:v>231</c:v>
                </c:pt>
                <c:pt idx="15">
                  <c:v>608</c:v>
                </c:pt>
                <c:pt idx="16">
                  <c:v>709</c:v>
                </c:pt>
                <c:pt idx="17">
                  <c:v>890</c:v>
                </c:pt>
                <c:pt idx="18">
                  <c:v>2096</c:v>
                </c:pt>
                <c:pt idx="19">
                  <c:v>1348</c:v>
                </c:pt>
                <c:pt idx="20">
                  <c:v>656</c:v>
                </c:pt>
                <c:pt idx="21">
                  <c:v>472</c:v>
                </c:pt>
                <c:pt idx="22">
                  <c:v>1000</c:v>
                </c:pt>
                <c:pt idx="23">
                  <c:v>321</c:v>
                </c:pt>
                <c:pt idx="24">
                  <c:v>37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2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8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25</c:v>
                </c:pt>
                <c:pt idx="1">
                  <c:v>16.42</c:v>
                </c:pt>
                <c:pt idx="2">
                  <c:v>20.12</c:v>
                </c:pt>
                <c:pt idx="3">
                  <c:v>18.06</c:v>
                </c:pt>
                <c:pt idx="4">
                  <c:v>17.17</c:v>
                </c:pt>
                <c:pt idx="5">
                  <c:v>15.13</c:v>
                </c:pt>
                <c:pt idx="6">
                  <c:v>18.71</c:v>
                </c:pt>
                <c:pt idx="7">
                  <c:v>14.61</c:v>
                </c:pt>
                <c:pt idx="8">
                  <c:v>17.65</c:v>
                </c:pt>
                <c:pt idx="9">
                  <c:v>19.23</c:v>
                </c:pt>
                <c:pt idx="10">
                  <c:v>18.94</c:v>
                </c:pt>
                <c:pt idx="11">
                  <c:v>15.17</c:v>
                </c:pt>
                <c:pt idx="12">
                  <c:v>17.02</c:v>
                </c:pt>
                <c:pt idx="13">
                  <c:v>20.22</c:v>
                </c:pt>
                <c:pt idx="14">
                  <c:v>19.25</c:v>
                </c:pt>
                <c:pt idx="15">
                  <c:v>16.0</c:v>
                </c:pt>
                <c:pt idx="16">
                  <c:v>16.88</c:v>
                </c:pt>
                <c:pt idx="17">
                  <c:v>16.79</c:v>
                </c:pt>
                <c:pt idx="18">
                  <c:v>14.76</c:v>
                </c:pt>
                <c:pt idx="19">
                  <c:v>18.22</c:v>
                </c:pt>
                <c:pt idx="20">
                  <c:v>19.88</c:v>
                </c:pt>
                <c:pt idx="21">
                  <c:v>19.67</c:v>
                </c:pt>
                <c:pt idx="22">
                  <c:v>16.13</c:v>
                </c:pt>
                <c:pt idx="23">
                  <c:v>17.83</c:v>
                </c:pt>
                <c:pt idx="24">
                  <c:v>19.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5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1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9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0593</c:v>
                </c:pt>
                <c:pt idx="1">
                  <c:v>25894</c:v>
                </c:pt>
                <c:pt idx="2">
                  <c:v>15315</c:v>
                </c:pt>
                <c:pt idx="3">
                  <c:v>20694</c:v>
                </c:pt>
                <c:pt idx="4">
                  <c:v>26429</c:v>
                </c:pt>
                <c:pt idx="5">
                  <c:v>43997</c:v>
                </c:pt>
                <c:pt idx="6">
                  <c:v>51601</c:v>
                </c:pt>
                <c:pt idx="7">
                  <c:v>69508</c:v>
                </c:pt>
                <c:pt idx="8">
                  <c:v>38886</c:v>
                </c:pt>
                <c:pt idx="9">
                  <c:v>29944</c:v>
                </c:pt>
                <c:pt idx="10">
                  <c:v>21546</c:v>
                </c:pt>
                <c:pt idx="11">
                  <c:v>39758</c:v>
                </c:pt>
                <c:pt idx="12">
                  <c:v>31769</c:v>
                </c:pt>
                <c:pt idx="13">
                  <c:v>20196</c:v>
                </c:pt>
                <c:pt idx="14">
                  <c:v>13000</c:v>
                </c:pt>
                <c:pt idx="15">
                  <c:v>34918</c:v>
                </c:pt>
                <c:pt idx="16">
                  <c:v>25473</c:v>
                </c:pt>
                <c:pt idx="17">
                  <c:v>32472</c:v>
                </c:pt>
                <c:pt idx="18">
                  <c:v>59896</c:v>
                </c:pt>
                <c:pt idx="19">
                  <c:v>30899</c:v>
                </c:pt>
                <c:pt idx="20">
                  <c:v>20072</c:v>
                </c:pt>
                <c:pt idx="21">
                  <c:v>26189</c:v>
                </c:pt>
                <c:pt idx="22">
                  <c:v>40422</c:v>
                </c:pt>
                <c:pt idx="23">
                  <c:v>26035</c:v>
                </c:pt>
                <c:pt idx="24">
                  <c:v>229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7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33</c:v>
                </c:pt>
                <c:pt idx="1">
                  <c:v>16.56</c:v>
                </c:pt>
                <c:pt idx="2">
                  <c:v>18.7</c:v>
                </c:pt>
                <c:pt idx="3">
                  <c:v>18.71</c:v>
                </c:pt>
                <c:pt idx="4">
                  <c:v>18.1</c:v>
                </c:pt>
                <c:pt idx="5">
                  <c:v>15.37</c:v>
                </c:pt>
                <c:pt idx="6">
                  <c:v>18.68</c:v>
                </c:pt>
                <c:pt idx="7">
                  <c:v>14.27</c:v>
                </c:pt>
                <c:pt idx="8">
                  <c:v>16.88</c:v>
                </c:pt>
                <c:pt idx="9">
                  <c:v>19.27</c:v>
                </c:pt>
                <c:pt idx="10">
                  <c:v>19.5</c:v>
                </c:pt>
                <c:pt idx="11">
                  <c:v>15.57</c:v>
                </c:pt>
                <c:pt idx="12">
                  <c:v>18.05</c:v>
                </c:pt>
                <c:pt idx="13">
                  <c:v>19.48</c:v>
                </c:pt>
                <c:pt idx="14">
                  <c:v>19.49</c:v>
                </c:pt>
                <c:pt idx="15">
                  <c:v>15.27</c:v>
                </c:pt>
                <c:pt idx="16">
                  <c:v>17.08</c:v>
                </c:pt>
                <c:pt idx="17">
                  <c:v>16.8</c:v>
                </c:pt>
                <c:pt idx="18">
                  <c:v>14.63</c:v>
                </c:pt>
                <c:pt idx="19">
                  <c:v>18.32</c:v>
                </c:pt>
                <c:pt idx="20">
                  <c:v>19.53</c:v>
                </c:pt>
                <c:pt idx="21">
                  <c:v>19.3</c:v>
                </c:pt>
                <c:pt idx="22">
                  <c:v>16.18</c:v>
                </c:pt>
                <c:pt idx="23">
                  <c:v>18.81</c:v>
                </c:pt>
                <c:pt idx="24">
                  <c:v>18.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4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401</c:v>
                </c:pt>
                <c:pt idx="1">
                  <c:v>3412</c:v>
                </c:pt>
                <c:pt idx="2">
                  <c:v>3700</c:v>
                </c:pt>
                <c:pt idx="3">
                  <c:v>2537</c:v>
                </c:pt>
                <c:pt idx="4">
                  <c:v>2903</c:v>
                </c:pt>
                <c:pt idx="5">
                  <c:v>3831</c:v>
                </c:pt>
                <c:pt idx="6">
                  <c:v>5968</c:v>
                </c:pt>
                <c:pt idx="7">
                  <c:v>6841</c:v>
                </c:pt>
                <c:pt idx="8">
                  <c:v>3910</c:v>
                </c:pt>
                <c:pt idx="9">
                  <c:v>2602</c:v>
                </c:pt>
                <c:pt idx="10">
                  <c:v>2356</c:v>
                </c:pt>
                <c:pt idx="11">
                  <c:v>4120</c:v>
                </c:pt>
                <c:pt idx="12">
                  <c:v>3102</c:v>
                </c:pt>
                <c:pt idx="13">
                  <c:v>3113</c:v>
                </c:pt>
                <c:pt idx="14">
                  <c:v>3354</c:v>
                </c:pt>
                <c:pt idx="15">
                  <c:v>3610</c:v>
                </c:pt>
                <c:pt idx="16">
                  <c:v>2722</c:v>
                </c:pt>
                <c:pt idx="17">
                  <c:v>3240</c:v>
                </c:pt>
                <c:pt idx="18">
                  <c:v>7010</c:v>
                </c:pt>
                <c:pt idx="19">
                  <c:v>2750</c:v>
                </c:pt>
                <c:pt idx="20">
                  <c:v>1762</c:v>
                </c:pt>
                <c:pt idx="21">
                  <c:v>2476</c:v>
                </c:pt>
                <c:pt idx="22">
                  <c:v>4207</c:v>
                </c:pt>
                <c:pt idx="23">
                  <c:v>2209</c:v>
                </c:pt>
                <c:pt idx="24">
                  <c:v>292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5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54</c:v>
                </c:pt>
                <c:pt idx="1">
                  <c:v>16.98</c:v>
                </c:pt>
                <c:pt idx="2">
                  <c:v>18.97</c:v>
                </c:pt>
                <c:pt idx="3">
                  <c:v>18.93</c:v>
                </c:pt>
                <c:pt idx="4">
                  <c:v>17.81</c:v>
                </c:pt>
                <c:pt idx="5">
                  <c:v>15.26</c:v>
                </c:pt>
                <c:pt idx="6">
                  <c:v>18.83</c:v>
                </c:pt>
                <c:pt idx="7">
                  <c:v>14.34</c:v>
                </c:pt>
                <c:pt idx="8">
                  <c:v>16.85</c:v>
                </c:pt>
                <c:pt idx="9">
                  <c:v>19.56</c:v>
                </c:pt>
                <c:pt idx="10">
                  <c:v>19.63</c:v>
                </c:pt>
                <c:pt idx="11">
                  <c:v>15.55</c:v>
                </c:pt>
                <c:pt idx="12">
                  <c:v>18.25</c:v>
                </c:pt>
                <c:pt idx="13">
                  <c:v>19.46</c:v>
                </c:pt>
                <c:pt idx="14">
                  <c:v>19.73</c:v>
                </c:pt>
                <c:pt idx="15">
                  <c:v>15.9</c:v>
                </c:pt>
                <c:pt idx="16">
                  <c:v>17.23</c:v>
                </c:pt>
                <c:pt idx="17">
                  <c:v>16.53</c:v>
                </c:pt>
                <c:pt idx="18">
                  <c:v>14.6</c:v>
                </c:pt>
                <c:pt idx="19">
                  <c:v>16.98</c:v>
                </c:pt>
                <c:pt idx="20">
                  <c:v>19.8</c:v>
                </c:pt>
                <c:pt idx="21">
                  <c:v>19.34</c:v>
                </c:pt>
                <c:pt idx="22">
                  <c:v>16.24</c:v>
                </c:pt>
                <c:pt idx="23">
                  <c:v>18.88</c:v>
                </c:pt>
                <c:pt idx="24">
                  <c:v>18.9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69</c:v>
                </c:pt>
                <c:pt idx="1">
                  <c:v>484</c:v>
                </c:pt>
                <c:pt idx="2">
                  <c:v>355</c:v>
                </c:pt>
                <c:pt idx="3">
                  <c:v>252</c:v>
                </c:pt>
                <c:pt idx="4">
                  <c:v>234</c:v>
                </c:pt>
                <c:pt idx="5">
                  <c:v>486</c:v>
                </c:pt>
                <c:pt idx="6">
                  <c:v>613</c:v>
                </c:pt>
                <c:pt idx="7">
                  <c:v>1027</c:v>
                </c:pt>
                <c:pt idx="8">
                  <c:v>390</c:v>
                </c:pt>
                <c:pt idx="9">
                  <c:v>335</c:v>
                </c:pt>
                <c:pt idx="10">
                  <c:v>196</c:v>
                </c:pt>
                <c:pt idx="11">
                  <c:v>575</c:v>
                </c:pt>
                <c:pt idx="12">
                  <c:v>356</c:v>
                </c:pt>
                <c:pt idx="13">
                  <c:v>226</c:v>
                </c:pt>
                <c:pt idx="14">
                  <c:v>288</c:v>
                </c:pt>
                <c:pt idx="15">
                  <c:v>387</c:v>
                </c:pt>
                <c:pt idx="16">
                  <c:v>195</c:v>
                </c:pt>
                <c:pt idx="17">
                  <c:v>271</c:v>
                </c:pt>
                <c:pt idx="18">
                  <c:v>755</c:v>
                </c:pt>
                <c:pt idx="19">
                  <c:v>147</c:v>
                </c:pt>
                <c:pt idx="20">
                  <c:v>258</c:v>
                </c:pt>
                <c:pt idx="21">
                  <c:v>172</c:v>
                </c:pt>
                <c:pt idx="22">
                  <c:v>717</c:v>
                </c:pt>
                <c:pt idx="23">
                  <c:v>307</c:v>
                </c:pt>
                <c:pt idx="24">
                  <c:v>2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8.8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03</c:v>
                </c:pt>
                <c:pt idx="1">
                  <c:v>17.93</c:v>
                </c:pt>
                <c:pt idx="2">
                  <c:v>18.68</c:v>
                </c:pt>
                <c:pt idx="3">
                  <c:v>18.0</c:v>
                </c:pt>
                <c:pt idx="4">
                  <c:v>18.0</c:v>
                </c:pt>
                <c:pt idx="5">
                  <c:v>15.68</c:v>
                </c:pt>
                <c:pt idx="6">
                  <c:v>19.16</c:v>
                </c:pt>
                <c:pt idx="7">
                  <c:v>14.46</c:v>
                </c:pt>
                <c:pt idx="8">
                  <c:v>16.96</c:v>
                </c:pt>
                <c:pt idx="9">
                  <c:v>18.61</c:v>
                </c:pt>
                <c:pt idx="10">
                  <c:v>21.78</c:v>
                </c:pt>
                <c:pt idx="11">
                  <c:v>15.97</c:v>
                </c:pt>
                <c:pt idx="12">
                  <c:v>19.78</c:v>
                </c:pt>
                <c:pt idx="13">
                  <c:v>18.83</c:v>
                </c:pt>
                <c:pt idx="14">
                  <c:v>19.2</c:v>
                </c:pt>
                <c:pt idx="15">
                  <c:v>14.88</c:v>
                </c:pt>
                <c:pt idx="16">
                  <c:v>21.67</c:v>
                </c:pt>
                <c:pt idx="17">
                  <c:v>15.94</c:v>
                </c:pt>
                <c:pt idx="18">
                  <c:v>14.8</c:v>
                </c:pt>
                <c:pt idx="19">
                  <c:v>16.33</c:v>
                </c:pt>
                <c:pt idx="20">
                  <c:v>19.85</c:v>
                </c:pt>
                <c:pt idx="21">
                  <c:v>19.11</c:v>
                </c:pt>
                <c:pt idx="22">
                  <c:v>15.93</c:v>
                </c:pt>
                <c:pt idx="23">
                  <c:v>18.06</c:v>
                </c:pt>
                <c:pt idx="24">
                  <c:v>1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05</c:v>
                </c:pt>
                <c:pt idx="1">
                  <c:v>958</c:v>
                </c:pt>
                <c:pt idx="2">
                  <c:v>346</c:v>
                </c:pt>
                <c:pt idx="3">
                  <c:v>278</c:v>
                </c:pt>
                <c:pt idx="4">
                  <c:v>545</c:v>
                </c:pt>
                <c:pt idx="5">
                  <c:v>1198</c:v>
                </c:pt>
                <c:pt idx="6">
                  <c:v>1577</c:v>
                </c:pt>
                <c:pt idx="7">
                  <c:v>1689</c:v>
                </c:pt>
                <c:pt idx="8">
                  <c:v>1003</c:v>
                </c:pt>
                <c:pt idx="9">
                  <c:v>698</c:v>
                </c:pt>
                <c:pt idx="10">
                  <c:v>539</c:v>
                </c:pt>
                <c:pt idx="11">
                  <c:v>1111</c:v>
                </c:pt>
                <c:pt idx="12">
                  <c:v>798</c:v>
                </c:pt>
                <c:pt idx="13">
                  <c:v>721</c:v>
                </c:pt>
                <c:pt idx="14">
                  <c:v>504</c:v>
                </c:pt>
                <c:pt idx="15">
                  <c:v>833</c:v>
                </c:pt>
                <c:pt idx="16">
                  <c:v>923</c:v>
                </c:pt>
                <c:pt idx="17">
                  <c:v>868</c:v>
                </c:pt>
                <c:pt idx="18">
                  <c:v>2453</c:v>
                </c:pt>
                <c:pt idx="19">
                  <c:v>619</c:v>
                </c:pt>
                <c:pt idx="20">
                  <c:v>541</c:v>
                </c:pt>
                <c:pt idx="21">
                  <c:v>768</c:v>
                </c:pt>
                <c:pt idx="22">
                  <c:v>1403</c:v>
                </c:pt>
                <c:pt idx="23">
                  <c:v>499</c:v>
                </c:pt>
                <c:pt idx="24">
                  <c:v>53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5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1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56</c:v>
                </c:pt>
                <c:pt idx="1">
                  <c:v>15.97</c:v>
                </c:pt>
                <c:pt idx="2">
                  <c:v>20.35</c:v>
                </c:pt>
                <c:pt idx="3">
                  <c:v>18.53</c:v>
                </c:pt>
                <c:pt idx="4">
                  <c:v>17.58</c:v>
                </c:pt>
                <c:pt idx="5">
                  <c:v>15.56</c:v>
                </c:pt>
                <c:pt idx="6">
                  <c:v>18.77</c:v>
                </c:pt>
                <c:pt idx="7">
                  <c:v>14.31</c:v>
                </c:pt>
                <c:pt idx="8">
                  <c:v>17.0</c:v>
                </c:pt>
                <c:pt idx="9">
                  <c:v>19.94</c:v>
                </c:pt>
                <c:pt idx="10">
                  <c:v>18.59</c:v>
                </c:pt>
                <c:pt idx="11">
                  <c:v>16.34</c:v>
                </c:pt>
                <c:pt idx="12">
                  <c:v>17.35</c:v>
                </c:pt>
                <c:pt idx="13">
                  <c:v>20.03</c:v>
                </c:pt>
                <c:pt idx="14">
                  <c:v>20.16</c:v>
                </c:pt>
                <c:pt idx="15">
                  <c:v>15.15</c:v>
                </c:pt>
                <c:pt idx="16">
                  <c:v>16.19</c:v>
                </c:pt>
                <c:pt idx="17">
                  <c:v>16.69</c:v>
                </c:pt>
                <c:pt idx="18">
                  <c:v>14.69</c:v>
                </c:pt>
                <c:pt idx="19">
                  <c:v>18.76</c:v>
                </c:pt>
                <c:pt idx="20">
                  <c:v>18.66</c:v>
                </c:pt>
                <c:pt idx="21">
                  <c:v>19.2</c:v>
                </c:pt>
                <c:pt idx="22">
                  <c:v>15.94</c:v>
                </c:pt>
                <c:pt idx="23">
                  <c:v>19.19</c:v>
                </c:pt>
                <c:pt idx="24">
                  <c:v>19.1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36</c:v>
                </c:pt>
                <c:pt idx="1">
                  <c:v>885</c:v>
                </c:pt>
                <c:pt idx="2">
                  <c:v>1045</c:v>
                </c:pt>
                <c:pt idx="3">
                  <c:v>467</c:v>
                </c:pt>
                <c:pt idx="4">
                  <c:v>932</c:v>
                </c:pt>
                <c:pt idx="5">
                  <c:v>1626</c:v>
                </c:pt>
                <c:pt idx="6">
                  <c:v>2489</c:v>
                </c:pt>
                <c:pt idx="7">
                  <c:v>2209</c:v>
                </c:pt>
                <c:pt idx="8">
                  <c:v>1245</c:v>
                </c:pt>
                <c:pt idx="9">
                  <c:v>924</c:v>
                </c:pt>
                <c:pt idx="10">
                  <c:v>827</c:v>
                </c:pt>
                <c:pt idx="11">
                  <c:v>1370</c:v>
                </c:pt>
                <c:pt idx="12">
                  <c:v>983</c:v>
                </c:pt>
                <c:pt idx="13">
                  <c:v>945</c:v>
                </c:pt>
                <c:pt idx="14">
                  <c:v>887</c:v>
                </c:pt>
                <c:pt idx="15">
                  <c:v>1777</c:v>
                </c:pt>
                <c:pt idx="16">
                  <c:v>1235</c:v>
                </c:pt>
                <c:pt idx="17">
                  <c:v>977</c:v>
                </c:pt>
                <c:pt idx="18">
                  <c:v>3088</c:v>
                </c:pt>
                <c:pt idx="19">
                  <c:v>908</c:v>
                </c:pt>
                <c:pt idx="20">
                  <c:v>442</c:v>
                </c:pt>
                <c:pt idx="21">
                  <c:v>704</c:v>
                </c:pt>
                <c:pt idx="22">
                  <c:v>1117</c:v>
                </c:pt>
                <c:pt idx="23">
                  <c:v>809</c:v>
                </c:pt>
                <c:pt idx="24">
                  <c:v>6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1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3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13</c:v>
                </c:pt>
                <c:pt idx="1">
                  <c:v>16.39</c:v>
                </c:pt>
                <c:pt idx="2">
                  <c:v>19.0</c:v>
                </c:pt>
                <c:pt idx="3">
                  <c:v>19.46</c:v>
                </c:pt>
                <c:pt idx="4">
                  <c:v>18.64</c:v>
                </c:pt>
                <c:pt idx="5">
                  <c:v>15.2</c:v>
                </c:pt>
                <c:pt idx="6">
                  <c:v>18.57</c:v>
                </c:pt>
                <c:pt idx="7">
                  <c:v>14.34</c:v>
                </c:pt>
                <c:pt idx="8">
                  <c:v>16.82</c:v>
                </c:pt>
                <c:pt idx="9">
                  <c:v>19.25</c:v>
                </c:pt>
                <c:pt idx="10">
                  <c:v>19.69</c:v>
                </c:pt>
                <c:pt idx="11">
                  <c:v>15.57</c:v>
                </c:pt>
                <c:pt idx="12">
                  <c:v>18.55</c:v>
                </c:pt>
                <c:pt idx="13">
                  <c:v>19.69</c:v>
                </c:pt>
                <c:pt idx="14">
                  <c:v>20.16</c:v>
                </c:pt>
                <c:pt idx="15">
                  <c:v>15.06</c:v>
                </c:pt>
                <c:pt idx="16">
                  <c:v>16.04</c:v>
                </c:pt>
                <c:pt idx="17">
                  <c:v>16.28</c:v>
                </c:pt>
                <c:pt idx="18">
                  <c:v>14.7</c:v>
                </c:pt>
                <c:pt idx="19">
                  <c:v>18.53</c:v>
                </c:pt>
                <c:pt idx="20">
                  <c:v>19.22</c:v>
                </c:pt>
                <c:pt idx="21">
                  <c:v>19.03</c:v>
                </c:pt>
                <c:pt idx="22">
                  <c:v>16.43</c:v>
                </c:pt>
                <c:pt idx="23">
                  <c:v>18.81</c:v>
                </c:pt>
                <c:pt idx="24">
                  <c:v>18.3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93</c:v>
                </c:pt>
                <c:pt idx="1">
                  <c:v>239</c:v>
                </c:pt>
                <c:pt idx="2">
                  <c:v>176</c:v>
                </c:pt>
                <c:pt idx="3">
                  <c:v>250</c:v>
                </c:pt>
                <c:pt idx="4">
                  <c:v>294</c:v>
                </c:pt>
                <c:pt idx="5">
                  <c:v>458</c:v>
                </c:pt>
                <c:pt idx="6">
                  <c:v>744</c:v>
                </c:pt>
                <c:pt idx="7">
                  <c:v>530</c:v>
                </c:pt>
                <c:pt idx="8">
                  <c:v>403</c:v>
                </c:pt>
                <c:pt idx="9">
                  <c:v>188</c:v>
                </c:pt>
                <c:pt idx="10">
                  <c:v>123</c:v>
                </c:pt>
                <c:pt idx="11">
                  <c:v>205</c:v>
                </c:pt>
                <c:pt idx="12">
                  <c:v>219</c:v>
                </c:pt>
                <c:pt idx="13">
                  <c:v>156</c:v>
                </c:pt>
                <c:pt idx="14">
                  <c:v>246</c:v>
                </c:pt>
                <c:pt idx="15">
                  <c:v>227</c:v>
                </c:pt>
                <c:pt idx="16">
                  <c:v>239</c:v>
                </c:pt>
                <c:pt idx="17">
                  <c:v>273</c:v>
                </c:pt>
                <c:pt idx="18">
                  <c:v>635</c:v>
                </c:pt>
                <c:pt idx="19">
                  <c:v>214</c:v>
                </c:pt>
                <c:pt idx="20">
                  <c:v>131</c:v>
                </c:pt>
                <c:pt idx="21">
                  <c:v>606</c:v>
                </c:pt>
                <c:pt idx="22">
                  <c:v>292</c:v>
                </c:pt>
                <c:pt idx="23">
                  <c:v>293</c:v>
                </c:pt>
                <c:pt idx="24">
                  <c:v>2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2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55</c:v>
                </c:pt>
                <c:pt idx="1">
                  <c:v>14.06</c:v>
                </c:pt>
                <c:pt idx="2">
                  <c:v>19.56</c:v>
                </c:pt>
                <c:pt idx="3">
                  <c:v>22.73</c:v>
                </c:pt>
                <c:pt idx="4">
                  <c:v>18.38</c:v>
                </c:pt>
                <c:pt idx="5">
                  <c:v>15.27</c:v>
                </c:pt>
                <c:pt idx="6">
                  <c:v>18.6</c:v>
                </c:pt>
                <c:pt idx="7">
                  <c:v>13.95</c:v>
                </c:pt>
                <c:pt idx="8">
                  <c:v>16.79</c:v>
                </c:pt>
                <c:pt idx="9">
                  <c:v>17.09</c:v>
                </c:pt>
                <c:pt idx="10">
                  <c:v>17.57</c:v>
                </c:pt>
                <c:pt idx="11">
                  <c:v>14.64</c:v>
                </c:pt>
                <c:pt idx="12">
                  <c:v>19.91</c:v>
                </c:pt>
                <c:pt idx="13">
                  <c:v>19.5</c:v>
                </c:pt>
                <c:pt idx="14">
                  <c:v>18.92</c:v>
                </c:pt>
                <c:pt idx="15">
                  <c:v>16.21</c:v>
                </c:pt>
                <c:pt idx="16">
                  <c:v>14.94</c:v>
                </c:pt>
                <c:pt idx="17">
                  <c:v>17.06</c:v>
                </c:pt>
                <c:pt idx="18">
                  <c:v>14.77</c:v>
                </c:pt>
                <c:pt idx="19">
                  <c:v>16.46</c:v>
                </c:pt>
                <c:pt idx="20">
                  <c:v>14.56</c:v>
                </c:pt>
                <c:pt idx="21">
                  <c:v>19.55</c:v>
                </c:pt>
                <c:pt idx="22">
                  <c:v>15.37</c:v>
                </c:pt>
                <c:pt idx="23">
                  <c:v>19.53</c:v>
                </c:pt>
                <c:pt idx="24">
                  <c:v>18.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1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9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9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7157</c:v>
                </c:pt>
                <c:pt idx="1">
                  <c:v>10146</c:v>
                </c:pt>
                <c:pt idx="2">
                  <c:v>8298</c:v>
                </c:pt>
                <c:pt idx="3">
                  <c:v>8702</c:v>
                </c:pt>
                <c:pt idx="4">
                  <c:v>9008</c:v>
                </c:pt>
                <c:pt idx="5">
                  <c:v>13001</c:v>
                </c:pt>
                <c:pt idx="6">
                  <c:v>22308</c:v>
                </c:pt>
                <c:pt idx="7">
                  <c:v>19673</c:v>
                </c:pt>
                <c:pt idx="8">
                  <c:v>11860</c:v>
                </c:pt>
                <c:pt idx="9">
                  <c:v>10349</c:v>
                </c:pt>
                <c:pt idx="10">
                  <c:v>7110</c:v>
                </c:pt>
                <c:pt idx="11">
                  <c:v>12861</c:v>
                </c:pt>
                <c:pt idx="12">
                  <c:v>11209</c:v>
                </c:pt>
                <c:pt idx="13">
                  <c:v>8994</c:v>
                </c:pt>
                <c:pt idx="14">
                  <c:v>7600</c:v>
                </c:pt>
                <c:pt idx="15">
                  <c:v>13204</c:v>
                </c:pt>
                <c:pt idx="16">
                  <c:v>7863</c:v>
                </c:pt>
                <c:pt idx="17">
                  <c:v>9868</c:v>
                </c:pt>
                <c:pt idx="18">
                  <c:v>21631</c:v>
                </c:pt>
                <c:pt idx="19">
                  <c:v>9381</c:v>
                </c:pt>
                <c:pt idx="20">
                  <c:v>6034</c:v>
                </c:pt>
                <c:pt idx="21">
                  <c:v>8603</c:v>
                </c:pt>
                <c:pt idx="22">
                  <c:v>12881</c:v>
                </c:pt>
                <c:pt idx="23">
                  <c:v>9866</c:v>
                </c:pt>
                <c:pt idx="24">
                  <c:v>79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9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93</c:v>
                </c:pt>
                <c:pt idx="1">
                  <c:v>17.2</c:v>
                </c:pt>
                <c:pt idx="2">
                  <c:v>19.34</c:v>
                </c:pt>
                <c:pt idx="3">
                  <c:v>18.67</c:v>
                </c:pt>
                <c:pt idx="4">
                  <c:v>18.46</c:v>
                </c:pt>
                <c:pt idx="5">
                  <c:v>15.85</c:v>
                </c:pt>
                <c:pt idx="6">
                  <c:v>18.59</c:v>
                </c:pt>
                <c:pt idx="7">
                  <c:v>14.7</c:v>
                </c:pt>
                <c:pt idx="8">
                  <c:v>17.19</c:v>
                </c:pt>
                <c:pt idx="9">
                  <c:v>19.67</c:v>
                </c:pt>
                <c:pt idx="10">
                  <c:v>19.53</c:v>
                </c:pt>
                <c:pt idx="11">
                  <c:v>16.26</c:v>
                </c:pt>
                <c:pt idx="12">
                  <c:v>18.35</c:v>
                </c:pt>
                <c:pt idx="13">
                  <c:v>19.59</c:v>
                </c:pt>
                <c:pt idx="14">
                  <c:v>18.86</c:v>
                </c:pt>
                <c:pt idx="15">
                  <c:v>15.93</c:v>
                </c:pt>
                <c:pt idx="16">
                  <c:v>17.21</c:v>
                </c:pt>
                <c:pt idx="17">
                  <c:v>17.13</c:v>
                </c:pt>
                <c:pt idx="18">
                  <c:v>15.41</c:v>
                </c:pt>
                <c:pt idx="19">
                  <c:v>18.29</c:v>
                </c:pt>
                <c:pt idx="20">
                  <c:v>19.4</c:v>
                </c:pt>
                <c:pt idx="21">
                  <c:v>19.12</c:v>
                </c:pt>
                <c:pt idx="22">
                  <c:v>16.66</c:v>
                </c:pt>
                <c:pt idx="23">
                  <c:v>18.97</c:v>
                </c:pt>
                <c:pt idx="24">
                  <c:v>19.0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258,1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05,8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10,831,286</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10258189</c:v>
                </c:pt>
                <c:pt idx="1">
                  <c:v>9951192</c:v>
                </c:pt>
                <c:pt idx="2">
                  <c:v>10261424</c:v>
                </c:pt>
                <c:pt idx="3">
                  <c:v>9927739</c:v>
                </c:pt>
                <c:pt idx="4">
                  <c:v>10351923</c:v>
                </c:pt>
                <c:pt idx="5">
                  <c:v>10271276</c:v>
                </c:pt>
                <c:pt idx="6">
                  <c:v>9579367</c:v>
                </c:pt>
                <c:pt idx="7">
                  <c:v>10257312</c:v>
                </c:pt>
                <c:pt idx="8">
                  <c:v>9925871</c:v>
                </c:pt>
                <c:pt idx="9">
                  <c:v>10277769</c:v>
                </c:pt>
                <c:pt idx="10">
                  <c:v>9971524</c:v>
                </c:pt>
                <c:pt idx="11">
                  <c:v>10785806</c:v>
                </c:pt>
                <c:pt idx="12">
                  <c:v>11150181</c:v>
                </c:pt>
                <c:pt idx="13">
                  <c:v>10805811</c:v>
                </c:pt>
                <c:pt idx="14">
                  <c:v>11170264</c:v>
                </c:pt>
                <c:pt idx="15">
                  <c:v>10806362</c:v>
                </c:pt>
                <c:pt idx="16">
                  <c:v>11213593</c:v>
                </c:pt>
                <c:pt idx="17">
                  <c:v>11140178</c:v>
                </c:pt>
                <c:pt idx="18">
                  <c:v>10058926</c:v>
                </c:pt>
                <c:pt idx="19">
                  <c:v>11146716</c:v>
                </c:pt>
                <c:pt idx="20">
                  <c:v>10800114</c:v>
                </c:pt>
                <c:pt idx="21">
                  <c:v>11178416</c:v>
                </c:pt>
                <c:pt idx="22">
                  <c:v>1083128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8.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8.23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8.35</c:v>
                </c:pt>
                <c:pt idx="1">
                  <c:v>8.36</c:v>
                </c:pt>
                <c:pt idx="2">
                  <c:v>8.36</c:v>
                </c:pt>
                <c:pt idx="3">
                  <c:v>8.35</c:v>
                </c:pt>
                <c:pt idx="4">
                  <c:v>8.38</c:v>
                </c:pt>
                <c:pt idx="5">
                  <c:v>8.36</c:v>
                </c:pt>
                <c:pt idx="6">
                  <c:v>8.35</c:v>
                </c:pt>
                <c:pt idx="7">
                  <c:v>8.35</c:v>
                </c:pt>
                <c:pt idx="8">
                  <c:v>8.35</c:v>
                </c:pt>
                <c:pt idx="9">
                  <c:v>8.36</c:v>
                </c:pt>
                <c:pt idx="10">
                  <c:v>8.37</c:v>
                </c:pt>
                <c:pt idx="11">
                  <c:v>8.28</c:v>
                </c:pt>
                <c:pt idx="12">
                  <c:v>8.22</c:v>
                </c:pt>
                <c:pt idx="13">
                  <c:v>8.23</c:v>
                </c:pt>
                <c:pt idx="14">
                  <c:v>8.21</c:v>
                </c:pt>
                <c:pt idx="15">
                  <c:v>8.22</c:v>
                </c:pt>
                <c:pt idx="16">
                  <c:v>8.23</c:v>
                </c:pt>
                <c:pt idx="17">
                  <c:v>8.22</c:v>
                </c:pt>
                <c:pt idx="18">
                  <c:v>8.22</c:v>
                </c:pt>
                <c:pt idx="19">
                  <c:v>8.22</c:v>
                </c:pt>
                <c:pt idx="20">
                  <c:v>8.23</c:v>
                </c:pt>
                <c:pt idx="21">
                  <c:v>8.23</c:v>
                </c:pt>
                <c:pt idx="22">
                  <c:v>8.2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3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3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2365</c:v>
                </c:pt>
                <c:pt idx="1">
                  <c:v>12081</c:v>
                </c:pt>
                <c:pt idx="2">
                  <c:v>9362</c:v>
                </c:pt>
                <c:pt idx="3">
                  <c:v>10500</c:v>
                </c:pt>
                <c:pt idx="4">
                  <c:v>12335</c:v>
                </c:pt>
                <c:pt idx="5">
                  <c:v>12370</c:v>
                </c:pt>
                <c:pt idx="6">
                  <c:v>32140</c:v>
                </c:pt>
                <c:pt idx="7">
                  <c:v>13831</c:v>
                </c:pt>
                <c:pt idx="8">
                  <c:v>7711</c:v>
                </c:pt>
                <c:pt idx="9">
                  <c:v>13220</c:v>
                </c:pt>
                <c:pt idx="10">
                  <c:v>11166</c:v>
                </c:pt>
                <c:pt idx="11">
                  <c:v>13185</c:v>
                </c:pt>
                <c:pt idx="12">
                  <c:v>17298</c:v>
                </c:pt>
                <c:pt idx="13">
                  <c:v>15640</c:v>
                </c:pt>
                <c:pt idx="14">
                  <c:v>9651</c:v>
                </c:pt>
                <c:pt idx="15">
                  <c:v>10954</c:v>
                </c:pt>
                <c:pt idx="16">
                  <c:v>13592</c:v>
                </c:pt>
                <c:pt idx="17">
                  <c:v>16467</c:v>
                </c:pt>
                <c:pt idx="18">
                  <c:v>32513</c:v>
                </c:pt>
                <c:pt idx="19">
                  <c:v>8944</c:v>
                </c:pt>
                <c:pt idx="20">
                  <c:v>6983</c:v>
                </c:pt>
                <c:pt idx="21">
                  <c:v>9092</c:v>
                </c:pt>
                <c:pt idx="22">
                  <c:v>9912</c:v>
                </c:pt>
                <c:pt idx="23">
                  <c:v>12205</c:v>
                </c:pt>
                <c:pt idx="24">
                  <c:v>113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7.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1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1.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7.98</c:v>
                </c:pt>
                <c:pt idx="1">
                  <c:v>30.05</c:v>
                </c:pt>
                <c:pt idx="2">
                  <c:v>29.91</c:v>
                </c:pt>
                <c:pt idx="3">
                  <c:v>28.69</c:v>
                </c:pt>
                <c:pt idx="4">
                  <c:v>30.38</c:v>
                </c:pt>
                <c:pt idx="5">
                  <c:v>29.52</c:v>
                </c:pt>
                <c:pt idx="6">
                  <c:v>30.35</c:v>
                </c:pt>
                <c:pt idx="7">
                  <c:v>32.93</c:v>
                </c:pt>
                <c:pt idx="8">
                  <c:v>32.81</c:v>
                </c:pt>
                <c:pt idx="9">
                  <c:v>31.78</c:v>
                </c:pt>
                <c:pt idx="10">
                  <c:v>33.53</c:v>
                </c:pt>
                <c:pt idx="11">
                  <c:v>32.88</c:v>
                </c:pt>
                <c:pt idx="12">
                  <c:v>29.62</c:v>
                </c:pt>
                <c:pt idx="13">
                  <c:v>29.12</c:v>
                </c:pt>
                <c:pt idx="14">
                  <c:v>30.83</c:v>
                </c:pt>
                <c:pt idx="15">
                  <c:v>31.21</c:v>
                </c:pt>
                <c:pt idx="16">
                  <c:v>30.41</c:v>
                </c:pt>
                <c:pt idx="17">
                  <c:v>32.29</c:v>
                </c:pt>
                <c:pt idx="18">
                  <c:v>32.22</c:v>
                </c:pt>
                <c:pt idx="19">
                  <c:v>31.72</c:v>
                </c:pt>
                <c:pt idx="20">
                  <c:v>32.18</c:v>
                </c:pt>
                <c:pt idx="21">
                  <c:v>31.03</c:v>
                </c:pt>
                <c:pt idx="22">
                  <c:v>32.18</c:v>
                </c:pt>
                <c:pt idx="23">
                  <c:v>30.21</c:v>
                </c:pt>
                <c:pt idx="24">
                  <c:v>31.7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5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2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3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570</c:v>
                </c:pt>
                <c:pt idx="1">
                  <c:v>20018</c:v>
                </c:pt>
                <c:pt idx="2">
                  <c:v>14899</c:v>
                </c:pt>
                <c:pt idx="3">
                  <c:v>17498</c:v>
                </c:pt>
                <c:pt idx="4">
                  <c:v>16328</c:v>
                </c:pt>
                <c:pt idx="5">
                  <c:v>16180</c:v>
                </c:pt>
                <c:pt idx="6">
                  <c:v>25206</c:v>
                </c:pt>
                <c:pt idx="7">
                  <c:v>16643</c:v>
                </c:pt>
                <c:pt idx="8">
                  <c:v>12806</c:v>
                </c:pt>
                <c:pt idx="9">
                  <c:v>16723</c:v>
                </c:pt>
                <c:pt idx="10">
                  <c:v>15813</c:v>
                </c:pt>
                <c:pt idx="11">
                  <c:v>18109</c:v>
                </c:pt>
                <c:pt idx="12">
                  <c:v>21165</c:v>
                </c:pt>
                <c:pt idx="13">
                  <c:v>20200</c:v>
                </c:pt>
                <c:pt idx="14">
                  <c:v>15063</c:v>
                </c:pt>
                <c:pt idx="15">
                  <c:v>16211</c:v>
                </c:pt>
                <c:pt idx="16">
                  <c:v>17545</c:v>
                </c:pt>
                <c:pt idx="17">
                  <c:v>15143</c:v>
                </c:pt>
                <c:pt idx="18">
                  <c:v>19890</c:v>
                </c:pt>
                <c:pt idx="19">
                  <c:v>14088</c:v>
                </c:pt>
                <c:pt idx="20">
                  <c:v>9654</c:v>
                </c:pt>
                <c:pt idx="21">
                  <c:v>14811</c:v>
                </c:pt>
                <c:pt idx="22">
                  <c:v>14162</c:v>
                </c:pt>
                <c:pt idx="23">
                  <c:v>18497</c:v>
                </c:pt>
                <c:pt idx="24">
                  <c:v>1939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1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0</c:v>
                </c:pt>
                <c:pt idx="1">
                  <c:v>13.11</c:v>
                </c:pt>
                <c:pt idx="2">
                  <c:v>12.92</c:v>
                </c:pt>
                <c:pt idx="3">
                  <c:v>13.89</c:v>
                </c:pt>
                <c:pt idx="4">
                  <c:v>13.57</c:v>
                </c:pt>
                <c:pt idx="5">
                  <c:v>13.44</c:v>
                </c:pt>
                <c:pt idx="6">
                  <c:v>13.01</c:v>
                </c:pt>
                <c:pt idx="7">
                  <c:v>13.43</c:v>
                </c:pt>
                <c:pt idx="8">
                  <c:v>13.95</c:v>
                </c:pt>
                <c:pt idx="9">
                  <c:v>13.61</c:v>
                </c:pt>
                <c:pt idx="10">
                  <c:v>13.2</c:v>
                </c:pt>
                <c:pt idx="11">
                  <c:v>13.56</c:v>
                </c:pt>
                <c:pt idx="12">
                  <c:v>13.61</c:v>
                </c:pt>
                <c:pt idx="13">
                  <c:v>12.18</c:v>
                </c:pt>
                <c:pt idx="14">
                  <c:v>11.6</c:v>
                </c:pt>
                <c:pt idx="15">
                  <c:v>12.36</c:v>
                </c:pt>
                <c:pt idx="16">
                  <c:v>10.97</c:v>
                </c:pt>
                <c:pt idx="17">
                  <c:v>11.78</c:v>
                </c:pt>
                <c:pt idx="18">
                  <c:v>11.47</c:v>
                </c:pt>
                <c:pt idx="19">
                  <c:v>12.36</c:v>
                </c:pt>
                <c:pt idx="20">
                  <c:v>12.94</c:v>
                </c:pt>
                <c:pt idx="21">
                  <c:v>13.05</c:v>
                </c:pt>
                <c:pt idx="22">
                  <c:v>12.62</c:v>
                </c:pt>
                <c:pt idx="23">
                  <c:v>12.32</c:v>
                </c:pt>
                <c:pt idx="24">
                  <c:v>12.7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8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8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0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2814</c:v>
                </c:pt>
                <c:pt idx="1">
                  <c:v>9877</c:v>
                </c:pt>
                <c:pt idx="2">
                  <c:v>8012</c:v>
                </c:pt>
                <c:pt idx="3">
                  <c:v>11488</c:v>
                </c:pt>
                <c:pt idx="4">
                  <c:v>9570</c:v>
                </c:pt>
                <c:pt idx="5">
                  <c:v>8126</c:v>
                </c:pt>
                <c:pt idx="6">
                  <c:v>11810</c:v>
                </c:pt>
                <c:pt idx="7">
                  <c:v>8699</c:v>
                </c:pt>
                <c:pt idx="8">
                  <c:v>6660</c:v>
                </c:pt>
                <c:pt idx="9">
                  <c:v>9874</c:v>
                </c:pt>
                <c:pt idx="10">
                  <c:v>7278</c:v>
                </c:pt>
                <c:pt idx="11">
                  <c:v>8312</c:v>
                </c:pt>
                <c:pt idx="12">
                  <c:v>11481</c:v>
                </c:pt>
                <c:pt idx="13">
                  <c:v>7845</c:v>
                </c:pt>
                <c:pt idx="14">
                  <c:v>4214</c:v>
                </c:pt>
                <c:pt idx="15">
                  <c:v>9907</c:v>
                </c:pt>
                <c:pt idx="16">
                  <c:v>7652</c:v>
                </c:pt>
                <c:pt idx="17">
                  <c:v>8315</c:v>
                </c:pt>
                <c:pt idx="18">
                  <c:v>9105</c:v>
                </c:pt>
                <c:pt idx="19">
                  <c:v>6454</c:v>
                </c:pt>
                <c:pt idx="20">
                  <c:v>6458</c:v>
                </c:pt>
                <c:pt idx="21">
                  <c:v>8003</c:v>
                </c:pt>
                <c:pt idx="22">
                  <c:v>7877</c:v>
                </c:pt>
                <c:pt idx="23">
                  <c:v>8700</c:v>
                </c:pt>
                <c:pt idx="24">
                  <c:v>905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9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0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91</c:v>
                </c:pt>
                <c:pt idx="1">
                  <c:v>12.89</c:v>
                </c:pt>
                <c:pt idx="2">
                  <c:v>12.56</c:v>
                </c:pt>
                <c:pt idx="3">
                  <c:v>14.1</c:v>
                </c:pt>
                <c:pt idx="4">
                  <c:v>13.65</c:v>
                </c:pt>
                <c:pt idx="5">
                  <c:v>13.54</c:v>
                </c:pt>
                <c:pt idx="6">
                  <c:v>12.8</c:v>
                </c:pt>
                <c:pt idx="7">
                  <c:v>13.59</c:v>
                </c:pt>
                <c:pt idx="8">
                  <c:v>13.9</c:v>
                </c:pt>
                <c:pt idx="9">
                  <c:v>13.73</c:v>
                </c:pt>
                <c:pt idx="10">
                  <c:v>13.23</c:v>
                </c:pt>
                <c:pt idx="11">
                  <c:v>13.65</c:v>
                </c:pt>
                <c:pt idx="12">
                  <c:v>13.7</c:v>
                </c:pt>
                <c:pt idx="13">
                  <c:v>12.09</c:v>
                </c:pt>
                <c:pt idx="14">
                  <c:v>11.71</c:v>
                </c:pt>
                <c:pt idx="15">
                  <c:v>12.67</c:v>
                </c:pt>
                <c:pt idx="16">
                  <c:v>11.24</c:v>
                </c:pt>
                <c:pt idx="17">
                  <c:v>11.79</c:v>
                </c:pt>
                <c:pt idx="18">
                  <c:v>11.48</c:v>
                </c:pt>
                <c:pt idx="19">
                  <c:v>11.78</c:v>
                </c:pt>
                <c:pt idx="20">
                  <c:v>12.71</c:v>
                </c:pt>
                <c:pt idx="21">
                  <c:v>12.95</c:v>
                </c:pt>
                <c:pt idx="22">
                  <c:v>12.89</c:v>
                </c:pt>
                <c:pt idx="23">
                  <c:v>12.48</c:v>
                </c:pt>
                <c:pt idx="24">
                  <c:v>12.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7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807</c:v>
                </c:pt>
                <c:pt idx="1">
                  <c:v>4333</c:v>
                </c:pt>
                <c:pt idx="2">
                  <c:v>4391</c:v>
                </c:pt>
                <c:pt idx="3">
                  <c:v>3288</c:v>
                </c:pt>
                <c:pt idx="4">
                  <c:v>3151</c:v>
                </c:pt>
                <c:pt idx="5">
                  <c:v>2806</c:v>
                </c:pt>
                <c:pt idx="6">
                  <c:v>7014</c:v>
                </c:pt>
                <c:pt idx="7">
                  <c:v>4093</c:v>
                </c:pt>
                <c:pt idx="8">
                  <c:v>3649</c:v>
                </c:pt>
                <c:pt idx="9">
                  <c:v>3717</c:v>
                </c:pt>
                <c:pt idx="10">
                  <c:v>3086</c:v>
                </c:pt>
                <c:pt idx="11">
                  <c:v>4763</c:v>
                </c:pt>
                <c:pt idx="12">
                  <c:v>4142</c:v>
                </c:pt>
                <c:pt idx="13">
                  <c:v>4739</c:v>
                </c:pt>
                <c:pt idx="14">
                  <c:v>4657</c:v>
                </c:pt>
                <c:pt idx="15">
                  <c:v>3177</c:v>
                </c:pt>
                <c:pt idx="16">
                  <c:v>3362</c:v>
                </c:pt>
                <c:pt idx="17">
                  <c:v>3532</c:v>
                </c:pt>
                <c:pt idx="18">
                  <c:v>6232</c:v>
                </c:pt>
                <c:pt idx="19">
                  <c:v>2842</c:v>
                </c:pt>
                <c:pt idx="20">
                  <c:v>2406</c:v>
                </c:pt>
                <c:pt idx="21">
                  <c:v>2502</c:v>
                </c:pt>
                <c:pt idx="22">
                  <c:v>2168</c:v>
                </c:pt>
                <c:pt idx="23">
                  <c:v>2498</c:v>
                </c:pt>
                <c:pt idx="24">
                  <c:v>266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2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8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0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21</c:v>
                </c:pt>
                <c:pt idx="1">
                  <c:v>12.21</c:v>
                </c:pt>
                <c:pt idx="2">
                  <c:v>11.87</c:v>
                </c:pt>
                <c:pt idx="3">
                  <c:v>11.96</c:v>
                </c:pt>
                <c:pt idx="4">
                  <c:v>12.6</c:v>
                </c:pt>
                <c:pt idx="5">
                  <c:v>12.36</c:v>
                </c:pt>
                <c:pt idx="6">
                  <c:v>13.11</c:v>
                </c:pt>
                <c:pt idx="7">
                  <c:v>12.83</c:v>
                </c:pt>
                <c:pt idx="8">
                  <c:v>12.63</c:v>
                </c:pt>
                <c:pt idx="9">
                  <c:v>12.82</c:v>
                </c:pt>
                <c:pt idx="10">
                  <c:v>11.73</c:v>
                </c:pt>
                <c:pt idx="11">
                  <c:v>12.44</c:v>
                </c:pt>
                <c:pt idx="12">
                  <c:v>12.63</c:v>
                </c:pt>
                <c:pt idx="13">
                  <c:v>10.87</c:v>
                </c:pt>
                <c:pt idx="14">
                  <c:v>11.01</c:v>
                </c:pt>
                <c:pt idx="15">
                  <c:v>10.81</c:v>
                </c:pt>
                <c:pt idx="16">
                  <c:v>10.34</c:v>
                </c:pt>
                <c:pt idx="17">
                  <c:v>11.43</c:v>
                </c:pt>
                <c:pt idx="18">
                  <c:v>10.46</c:v>
                </c:pt>
                <c:pt idx="19">
                  <c:v>11.84</c:v>
                </c:pt>
                <c:pt idx="20">
                  <c:v>12.4</c:v>
                </c:pt>
                <c:pt idx="21">
                  <c:v>12.33</c:v>
                </c:pt>
                <c:pt idx="22">
                  <c:v>11.78</c:v>
                </c:pt>
                <c:pt idx="23">
                  <c:v>11.67</c:v>
                </c:pt>
                <c:pt idx="24">
                  <c:v>12.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4,4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6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1,9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54445</c:v>
                </c:pt>
                <c:pt idx="1">
                  <c:v>118298</c:v>
                </c:pt>
                <c:pt idx="2">
                  <c:v>77646</c:v>
                </c:pt>
                <c:pt idx="3">
                  <c:v>118488</c:v>
                </c:pt>
                <c:pt idx="4">
                  <c:v>104771</c:v>
                </c:pt>
                <c:pt idx="5">
                  <c:v>100384</c:v>
                </c:pt>
                <c:pt idx="6">
                  <c:v>156407</c:v>
                </c:pt>
                <c:pt idx="7">
                  <c:v>109683</c:v>
                </c:pt>
                <c:pt idx="8">
                  <c:v>82955</c:v>
                </c:pt>
                <c:pt idx="9">
                  <c:v>103339</c:v>
                </c:pt>
                <c:pt idx="10">
                  <c:v>95376</c:v>
                </c:pt>
                <c:pt idx="11">
                  <c:v>109961</c:v>
                </c:pt>
                <c:pt idx="12">
                  <c:v>131031</c:v>
                </c:pt>
                <c:pt idx="13">
                  <c:v>108692</c:v>
                </c:pt>
                <c:pt idx="14">
                  <c:v>67016</c:v>
                </c:pt>
                <c:pt idx="15">
                  <c:v>96705</c:v>
                </c:pt>
                <c:pt idx="16">
                  <c:v>103676</c:v>
                </c:pt>
                <c:pt idx="17">
                  <c:v>97283</c:v>
                </c:pt>
                <c:pt idx="18">
                  <c:v>120546</c:v>
                </c:pt>
                <c:pt idx="19">
                  <c:v>86008</c:v>
                </c:pt>
                <c:pt idx="20">
                  <c:v>74129</c:v>
                </c:pt>
                <c:pt idx="21">
                  <c:v>90840</c:v>
                </c:pt>
                <c:pt idx="22">
                  <c:v>96800</c:v>
                </c:pt>
                <c:pt idx="23">
                  <c:v>111947</c:v>
                </c:pt>
                <c:pt idx="24">
                  <c:v>12195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3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96</c:v>
                </c:pt>
                <c:pt idx="1">
                  <c:v>13.01</c:v>
                </c:pt>
                <c:pt idx="2">
                  <c:v>12.93</c:v>
                </c:pt>
                <c:pt idx="3">
                  <c:v>13.87</c:v>
                </c:pt>
                <c:pt idx="4">
                  <c:v>13.56</c:v>
                </c:pt>
                <c:pt idx="5">
                  <c:v>13.36</c:v>
                </c:pt>
                <c:pt idx="6">
                  <c:v>12.87</c:v>
                </c:pt>
                <c:pt idx="7">
                  <c:v>13.54</c:v>
                </c:pt>
                <c:pt idx="8">
                  <c:v>13.88</c:v>
                </c:pt>
                <c:pt idx="9">
                  <c:v>13.55</c:v>
                </c:pt>
                <c:pt idx="10">
                  <c:v>13.11</c:v>
                </c:pt>
                <c:pt idx="11">
                  <c:v>13.54</c:v>
                </c:pt>
                <c:pt idx="12">
                  <c:v>13.54</c:v>
                </c:pt>
                <c:pt idx="13">
                  <c:v>12.32</c:v>
                </c:pt>
                <c:pt idx="14">
                  <c:v>11.62</c:v>
                </c:pt>
                <c:pt idx="15">
                  <c:v>12.31</c:v>
                </c:pt>
                <c:pt idx="16">
                  <c:v>10.67</c:v>
                </c:pt>
                <c:pt idx="17">
                  <c:v>11.77</c:v>
                </c:pt>
                <c:pt idx="18">
                  <c:v>11.34</c:v>
                </c:pt>
                <c:pt idx="19">
                  <c:v>12.05</c:v>
                </c:pt>
                <c:pt idx="20">
                  <c:v>12.76</c:v>
                </c:pt>
                <c:pt idx="21">
                  <c:v>12.82</c:v>
                </c:pt>
                <c:pt idx="22">
                  <c:v>12.55</c:v>
                </c:pt>
                <c:pt idx="23">
                  <c:v>12.3</c:v>
                </c:pt>
                <c:pt idx="24">
                  <c:v>12.7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373</c:v>
                </c:pt>
                <c:pt idx="1">
                  <c:v>3887</c:v>
                </c:pt>
                <c:pt idx="2">
                  <c:v>3910</c:v>
                </c:pt>
                <c:pt idx="3">
                  <c:v>2827</c:v>
                </c:pt>
                <c:pt idx="4">
                  <c:v>2284</c:v>
                </c:pt>
                <c:pt idx="5">
                  <c:v>2051</c:v>
                </c:pt>
                <c:pt idx="6">
                  <c:v>4054</c:v>
                </c:pt>
                <c:pt idx="7">
                  <c:v>2207</c:v>
                </c:pt>
                <c:pt idx="8">
                  <c:v>1621</c:v>
                </c:pt>
                <c:pt idx="9">
                  <c:v>1616</c:v>
                </c:pt>
                <c:pt idx="10">
                  <c:v>1865</c:v>
                </c:pt>
                <c:pt idx="11">
                  <c:v>2323</c:v>
                </c:pt>
                <c:pt idx="12">
                  <c:v>2364</c:v>
                </c:pt>
                <c:pt idx="13">
                  <c:v>2981</c:v>
                </c:pt>
                <c:pt idx="14">
                  <c:v>3335</c:v>
                </c:pt>
                <c:pt idx="15">
                  <c:v>2216</c:v>
                </c:pt>
                <c:pt idx="16">
                  <c:v>2281</c:v>
                </c:pt>
                <c:pt idx="17">
                  <c:v>2609</c:v>
                </c:pt>
                <c:pt idx="18">
                  <c:v>3230</c:v>
                </c:pt>
                <c:pt idx="19">
                  <c:v>1436</c:v>
                </c:pt>
                <c:pt idx="20">
                  <c:v>1546</c:v>
                </c:pt>
                <c:pt idx="21">
                  <c:v>1697</c:v>
                </c:pt>
                <c:pt idx="22">
                  <c:v>2013</c:v>
                </c:pt>
                <c:pt idx="23">
                  <c:v>2520</c:v>
                </c:pt>
                <c:pt idx="24">
                  <c:v>189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9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64</c:v>
                </c:pt>
                <c:pt idx="1">
                  <c:v>13.09</c:v>
                </c:pt>
                <c:pt idx="2">
                  <c:v>12.65</c:v>
                </c:pt>
                <c:pt idx="3">
                  <c:v>14.06</c:v>
                </c:pt>
                <c:pt idx="4">
                  <c:v>13.44</c:v>
                </c:pt>
                <c:pt idx="5">
                  <c:v>13.67</c:v>
                </c:pt>
                <c:pt idx="6">
                  <c:v>13.51</c:v>
                </c:pt>
                <c:pt idx="7">
                  <c:v>13.3</c:v>
                </c:pt>
                <c:pt idx="8">
                  <c:v>14.22</c:v>
                </c:pt>
                <c:pt idx="9">
                  <c:v>13.36</c:v>
                </c:pt>
                <c:pt idx="10">
                  <c:v>13.04</c:v>
                </c:pt>
                <c:pt idx="11">
                  <c:v>14.08</c:v>
                </c:pt>
                <c:pt idx="12">
                  <c:v>13.91</c:v>
                </c:pt>
                <c:pt idx="13">
                  <c:v>11.88</c:v>
                </c:pt>
                <c:pt idx="14">
                  <c:v>10.9</c:v>
                </c:pt>
                <c:pt idx="15">
                  <c:v>10.97</c:v>
                </c:pt>
                <c:pt idx="16">
                  <c:v>10.27</c:v>
                </c:pt>
                <c:pt idx="17">
                  <c:v>9.92</c:v>
                </c:pt>
                <c:pt idx="18">
                  <c:v>11.7</c:v>
                </c:pt>
                <c:pt idx="19">
                  <c:v>11.87</c:v>
                </c:pt>
                <c:pt idx="20">
                  <c:v>13.1</c:v>
                </c:pt>
                <c:pt idx="21">
                  <c:v>12.95</c:v>
                </c:pt>
                <c:pt idx="22">
                  <c:v>12.99</c:v>
                </c:pt>
                <c:pt idx="23">
                  <c:v>12.41</c:v>
                </c:pt>
                <c:pt idx="24">
                  <c:v>12.9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14</c:v>
                </c:pt>
                <c:pt idx="1">
                  <c:v>1109</c:v>
                </c:pt>
                <c:pt idx="2">
                  <c:v>805</c:v>
                </c:pt>
                <c:pt idx="3">
                  <c:v>697</c:v>
                </c:pt>
                <c:pt idx="4">
                  <c:v>495</c:v>
                </c:pt>
                <c:pt idx="5">
                  <c:v>359</c:v>
                </c:pt>
                <c:pt idx="6">
                  <c:v>1289</c:v>
                </c:pt>
                <c:pt idx="7">
                  <c:v>706</c:v>
                </c:pt>
                <c:pt idx="8">
                  <c:v>487</c:v>
                </c:pt>
                <c:pt idx="9">
                  <c:v>583</c:v>
                </c:pt>
                <c:pt idx="10">
                  <c:v>484</c:v>
                </c:pt>
                <c:pt idx="11">
                  <c:v>447</c:v>
                </c:pt>
                <c:pt idx="12">
                  <c:v>541</c:v>
                </c:pt>
                <c:pt idx="13">
                  <c:v>1096</c:v>
                </c:pt>
                <c:pt idx="14">
                  <c:v>1001</c:v>
                </c:pt>
                <c:pt idx="15">
                  <c:v>521</c:v>
                </c:pt>
                <c:pt idx="16">
                  <c:v>608</c:v>
                </c:pt>
                <c:pt idx="17">
                  <c:v>828</c:v>
                </c:pt>
                <c:pt idx="18">
                  <c:v>1024</c:v>
                </c:pt>
                <c:pt idx="19">
                  <c:v>507</c:v>
                </c:pt>
                <c:pt idx="20">
                  <c:v>641</c:v>
                </c:pt>
                <c:pt idx="21">
                  <c:v>442</c:v>
                </c:pt>
                <c:pt idx="22">
                  <c:v>522</c:v>
                </c:pt>
                <c:pt idx="23">
                  <c:v>771</c:v>
                </c:pt>
                <c:pt idx="24">
                  <c:v>7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6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8</c:v>
                </c:pt>
                <c:pt idx="1">
                  <c:v>13.52</c:v>
                </c:pt>
                <c:pt idx="2">
                  <c:v>13.64</c:v>
                </c:pt>
                <c:pt idx="3">
                  <c:v>13.67</c:v>
                </c:pt>
                <c:pt idx="4">
                  <c:v>14.56</c:v>
                </c:pt>
                <c:pt idx="5">
                  <c:v>11.97</c:v>
                </c:pt>
                <c:pt idx="6">
                  <c:v>13.57</c:v>
                </c:pt>
                <c:pt idx="7">
                  <c:v>12.39</c:v>
                </c:pt>
                <c:pt idx="8">
                  <c:v>13.53</c:v>
                </c:pt>
                <c:pt idx="9">
                  <c:v>13.25</c:v>
                </c:pt>
                <c:pt idx="10">
                  <c:v>12.1</c:v>
                </c:pt>
                <c:pt idx="11">
                  <c:v>13.55</c:v>
                </c:pt>
                <c:pt idx="12">
                  <c:v>13.2</c:v>
                </c:pt>
                <c:pt idx="13">
                  <c:v>11.42</c:v>
                </c:pt>
                <c:pt idx="14">
                  <c:v>10.65</c:v>
                </c:pt>
                <c:pt idx="15">
                  <c:v>11.84</c:v>
                </c:pt>
                <c:pt idx="16">
                  <c:v>9.35</c:v>
                </c:pt>
                <c:pt idx="17">
                  <c:v>10.1</c:v>
                </c:pt>
                <c:pt idx="18">
                  <c:v>10.14</c:v>
                </c:pt>
                <c:pt idx="19">
                  <c:v>11.02</c:v>
                </c:pt>
                <c:pt idx="20">
                  <c:v>12.57</c:v>
                </c:pt>
                <c:pt idx="21">
                  <c:v>12.28</c:v>
                </c:pt>
                <c:pt idx="22">
                  <c:v>11.86</c:v>
                </c:pt>
                <c:pt idx="23">
                  <c:v>11.51</c:v>
                </c:pt>
                <c:pt idx="24">
                  <c:v>11.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1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5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2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121</c:v>
                </c:pt>
                <c:pt idx="1">
                  <c:v>10449</c:v>
                </c:pt>
                <c:pt idx="2">
                  <c:v>7357</c:v>
                </c:pt>
                <c:pt idx="3">
                  <c:v>10802</c:v>
                </c:pt>
                <c:pt idx="4">
                  <c:v>14923</c:v>
                </c:pt>
                <c:pt idx="5">
                  <c:v>11485</c:v>
                </c:pt>
                <c:pt idx="6">
                  <c:v>27782</c:v>
                </c:pt>
                <c:pt idx="7">
                  <c:v>13143</c:v>
                </c:pt>
                <c:pt idx="8">
                  <c:v>9720</c:v>
                </c:pt>
                <c:pt idx="9">
                  <c:v>8903</c:v>
                </c:pt>
                <c:pt idx="10">
                  <c:v>10838</c:v>
                </c:pt>
                <c:pt idx="11">
                  <c:v>12562</c:v>
                </c:pt>
                <c:pt idx="12">
                  <c:v>14380</c:v>
                </c:pt>
                <c:pt idx="13">
                  <c:v>12559</c:v>
                </c:pt>
                <c:pt idx="14">
                  <c:v>9334</c:v>
                </c:pt>
                <c:pt idx="15">
                  <c:v>10827</c:v>
                </c:pt>
                <c:pt idx="16">
                  <c:v>13742</c:v>
                </c:pt>
                <c:pt idx="17">
                  <c:v>19639</c:v>
                </c:pt>
                <c:pt idx="18">
                  <c:v>27300</c:v>
                </c:pt>
                <c:pt idx="19">
                  <c:v>11401</c:v>
                </c:pt>
                <c:pt idx="20">
                  <c:v>10162</c:v>
                </c:pt>
                <c:pt idx="21">
                  <c:v>9634</c:v>
                </c:pt>
                <c:pt idx="22">
                  <c:v>11330</c:v>
                </c:pt>
                <c:pt idx="23">
                  <c:v>15247</c:v>
                </c:pt>
                <c:pt idx="24">
                  <c:v>142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1.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9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3.8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1.59</c:v>
                </c:pt>
                <c:pt idx="1">
                  <c:v>31.01</c:v>
                </c:pt>
                <c:pt idx="2">
                  <c:v>31.17</c:v>
                </c:pt>
                <c:pt idx="3">
                  <c:v>29.68</c:v>
                </c:pt>
                <c:pt idx="4">
                  <c:v>29.67</c:v>
                </c:pt>
                <c:pt idx="5">
                  <c:v>31.38</c:v>
                </c:pt>
                <c:pt idx="6">
                  <c:v>31.82</c:v>
                </c:pt>
                <c:pt idx="7">
                  <c:v>33.7</c:v>
                </c:pt>
                <c:pt idx="8">
                  <c:v>33.06</c:v>
                </c:pt>
                <c:pt idx="9">
                  <c:v>33.6</c:v>
                </c:pt>
                <c:pt idx="10">
                  <c:v>34.3</c:v>
                </c:pt>
                <c:pt idx="11">
                  <c:v>34.99</c:v>
                </c:pt>
                <c:pt idx="12">
                  <c:v>30.27</c:v>
                </c:pt>
                <c:pt idx="13">
                  <c:v>29.97</c:v>
                </c:pt>
                <c:pt idx="14">
                  <c:v>31.11</c:v>
                </c:pt>
                <c:pt idx="15">
                  <c:v>32.32</c:v>
                </c:pt>
                <c:pt idx="16">
                  <c:v>30.54</c:v>
                </c:pt>
                <c:pt idx="17">
                  <c:v>31.83</c:v>
                </c:pt>
                <c:pt idx="18">
                  <c:v>33.25</c:v>
                </c:pt>
                <c:pt idx="19">
                  <c:v>33.05</c:v>
                </c:pt>
                <c:pt idx="20">
                  <c:v>32.99</c:v>
                </c:pt>
                <c:pt idx="21">
                  <c:v>32.77</c:v>
                </c:pt>
                <c:pt idx="22">
                  <c:v>32.01</c:v>
                </c:pt>
                <c:pt idx="23">
                  <c:v>31.9</c:v>
                </c:pt>
                <c:pt idx="24">
                  <c:v>33.8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3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0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5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5386</c:v>
                </c:pt>
                <c:pt idx="1">
                  <c:v>31141</c:v>
                </c:pt>
                <c:pt idx="2">
                  <c:v>21674</c:v>
                </c:pt>
                <c:pt idx="3">
                  <c:v>25266</c:v>
                </c:pt>
                <c:pt idx="4">
                  <c:v>24585</c:v>
                </c:pt>
                <c:pt idx="5">
                  <c:v>23959</c:v>
                </c:pt>
                <c:pt idx="6">
                  <c:v>39787</c:v>
                </c:pt>
                <c:pt idx="7">
                  <c:v>26574</c:v>
                </c:pt>
                <c:pt idx="8">
                  <c:v>19970</c:v>
                </c:pt>
                <c:pt idx="9">
                  <c:v>24626</c:v>
                </c:pt>
                <c:pt idx="10">
                  <c:v>23844</c:v>
                </c:pt>
                <c:pt idx="11">
                  <c:v>26024</c:v>
                </c:pt>
                <c:pt idx="12">
                  <c:v>30618</c:v>
                </c:pt>
                <c:pt idx="13">
                  <c:v>30055</c:v>
                </c:pt>
                <c:pt idx="14">
                  <c:v>20650</c:v>
                </c:pt>
                <c:pt idx="15">
                  <c:v>22153</c:v>
                </c:pt>
                <c:pt idx="16">
                  <c:v>25768</c:v>
                </c:pt>
                <c:pt idx="17">
                  <c:v>23301</c:v>
                </c:pt>
                <c:pt idx="18">
                  <c:v>34273</c:v>
                </c:pt>
                <c:pt idx="19">
                  <c:v>19868</c:v>
                </c:pt>
                <c:pt idx="20">
                  <c:v>17458</c:v>
                </c:pt>
                <c:pt idx="21">
                  <c:v>23647</c:v>
                </c:pt>
                <c:pt idx="22">
                  <c:v>24181</c:v>
                </c:pt>
                <c:pt idx="23">
                  <c:v>26946</c:v>
                </c:pt>
                <c:pt idx="24">
                  <c:v>2858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6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0</c:v>
                </c:pt>
                <c:pt idx="1">
                  <c:v>12.96</c:v>
                </c:pt>
                <c:pt idx="2">
                  <c:v>12.8</c:v>
                </c:pt>
                <c:pt idx="3">
                  <c:v>13.81</c:v>
                </c:pt>
                <c:pt idx="4">
                  <c:v>13.52</c:v>
                </c:pt>
                <c:pt idx="5">
                  <c:v>13.24</c:v>
                </c:pt>
                <c:pt idx="6">
                  <c:v>12.86</c:v>
                </c:pt>
                <c:pt idx="7">
                  <c:v>13.3</c:v>
                </c:pt>
                <c:pt idx="8">
                  <c:v>13.87</c:v>
                </c:pt>
                <c:pt idx="9">
                  <c:v>13.55</c:v>
                </c:pt>
                <c:pt idx="10">
                  <c:v>13.07</c:v>
                </c:pt>
                <c:pt idx="11">
                  <c:v>13.53</c:v>
                </c:pt>
                <c:pt idx="12">
                  <c:v>13.54</c:v>
                </c:pt>
                <c:pt idx="13">
                  <c:v>12.31</c:v>
                </c:pt>
                <c:pt idx="14">
                  <c:v>11.5</c:v>
                </c:pt>
                <c:pt idx="15">
                  <c:v>12.21</c:v>
                </c:pt>
                <c:pt idx="16">
                  <c:v>10.4</c:v>
                </c:pt>
                <c:pt idx="17">
                  <c:v>11.51</c:v>
                </c:pt>
                <c:pt idx="18">
                  <c:v>11.19</c:v>
                </c:pt>
                <c:pt idx="19">
                  <c:v>11.96</c:v>
                </c:pt>
                <c:pt idx="20">
                  <c:v>12.67</c:v>
                </c:pt>
                <c:pt idx="21">
                  <c:v>12.64</c:v>
                </c:pt>
                <c:pt idx="22">
                  <c:v>12.36</c:v>
                </c:pt>
                <c:pt idx="23">
                  <c:v>12.18</c:v>
                </c:pt>
                <c:pt idx="24">
                  <c:v>12.6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5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5,9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6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0567</c:v>
                </c:pt>
                <c:pt idx="1">
                  <c:v>27503</c:v>
                </c:pt>
                <c:pt idx="2">
                  <c:v>18501</c:v>
                </c:pt>
                <c:pt idx="3">
                  <c:v>24053</c:v>
                </c:pt>
                <c:pt idx="4">
                  <c:v>22273</c:v>
                </c:pt>
                <c:pt idx="5">
                  <c:v>22832</c:v>
                </c:pt>
                <c:pt idx="6">
                  <c:v>41571</c:v>
                </c:pt>
                <c:pt idx="7">
                  <c:v>25106</c:v>
                </c:pt>
                <c:pt idx="8">
                  <c:v>16908</c:v>
                </c:pt>
                <c:pt idx="9">
                  <c:v>20612</c:v>
                </c:pt>
                <c:pt idx="10">
                  <c:v>21061</c:v>
                </c:pt>
                <c:pt idx="11">
                  <c:v>23161</c:v>
                </c:pt>
                <c:pt idx="12">
                  <c:v>27451</c:v>
                </c:pt>
                <c:pt idx="13">
                  <c:v>25962</c:v>
                </c:pt>
                <c:pt idx="14">
                  <c:v>17578</c:v>
                </c:pt>
                <c:pt idx="15">
                  <c:v>18594</c:v>
                </c:pt>
                <c:pt idx="16">
                  <c:v>22128</c:v>
                </c:pt>
                <c:pt idx="17">
                  <c:v>22950</c:v>
                </c:pt>
                <c:pt idx="18">
                  <c:v>29562</c:v>
                </c:pt>
                <c:pt idx="19">
                  <c:v>16779</c:v>
                </c:pt>
                <c:pt idx="20">
                  <c:v>14412</c:v>
                </c:pt>
                <c:pt idx="21">
                  <c:v>18282</c:v>
                </c:pt>
                <c:pt idx="22">
                  <c:v>19275</c:v>
                </c:pt>
                <c:pt idx="23">
                  <c:v>23547</c:v>
                </c:pt>
                <c:pt idx="24">
                  <c:v>2468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1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3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76</c:v>
                </c:pt>
                <c:pt idx="1">
                  <c:v>12.73</c:v>
                </c:pt>
                <c:pt idx="2">
                  <c:v>12.63</c:v>
                </c:pt>
                <c:pt idx="3">
                  <c:v>13.58</c:v>
                </c:pt>
                <c:pt idx="4">
                  <c:v>13.46</c:v>
                </c:pt>
                <c:pt idx="5">
                  <c:v>13.06</c:v>
                </c:pt>
                <c:pt idx="6">
                  <c:v>12.59</c:v>
                </c:pt>
                <c:pt idx="7">
                  <c:v>13.17</c:v>
                </c:pt>
                <c:pt idx="8">
                  <c:v>13.7</c:v>
                </c:pt>
                <c:pt idx="9">
                  <c:v>13.38</c:v>
                </c:pt>
                <c:pt idx="10">
                  <c:v>12.99</c:v>
                </c:pt>
                <c:pt idx="11">
                  <c:v>13.47</c:v>
                </c:pt>
                <c:pt idx="12">
                  <c:v>13.44</c:v>
                </c:pt>
                <c:pt idx="13">
                  <c:v>12.19</c:v>
                </c:pt>
                <c:pt idx="14">
                  <c:v>11.52</c:v>
                </c:pt>
                <c:pt idx="15">
                  <c:v>12.18</c:v>
                </c:pt>
                <c:pt idx="16">
                  <c:v>10.4</c:v>
                </c:pt>
                <c:pt idx="17">
                  <c:v>11.44</c:v>
                </c:pt>
                <c:pt idx="18">
                  <c:v>10.94</c:v>
                </c:pt>
                <c:pt idx="19">
                  <c:v>11.86</c:v>
                </c:pt>
                <c:pt idx="20">
                  <c:v>12.51</c:v>
                </c:pt>
                <c:pt idx="21">
                  <c:v>12.69</c:v>
                </c:pt>
                <c:pt idx="22">
                  <c:v>12.43</c:v>
                </c:pt>
                <c:pt idx="23">
                  <c:v>12.11</c:v>
                </c:pt>
                <c:pt idx="24">
                  <c:v>12.3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7,6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1,4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8,9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7605</c:v>
                </c:pt>
                <c:pt idx="1">
                  <c:v>93752</c:v>
                </c:pt>
                <c:pt idx="2">
                  <c:v>82361</c:v>
                </c:pt>
                <c:pt idx="3">
                  <c:v>77931</c:v>
                </c:pt>
                <c:pt idx="4">
                  <c:v>79739</c:v>
                </c:pt>
                <c:pt idx="5">
                  <c:v>110357</c:v>
                </c:pt>
                <c:pt idx="6">
                  <c:v>352984</c:v>
                </c:pt>
                <c:pt idx="7">
                  <c:v>137232</c:v>
                </c:pt>
                <c:pt idx="8">
                  <c:v>64265</c:v>
                </c:pt>
                <c:pt idx="9">
                  <c:v>69149</c:v>
                </c:pt>
                <c:pt idx="10">
                  <c:v>59258</c:v>
                </c:pt>
                <c:pt idx="11">
                  <c:v>89566</c:v>
                </c:pt>
                <c:pt idx="12">
                  <c:v>76167</c:v>
                </c:pt>
                <c:pt idx="13">
                  <c:v>81441</c:v>
                </c:pt>
                <c:pt idx="14">
                  <c:v>83746</c:v>
                </c:pt>
                <c:pt idx="15">
                  <c:v>75759</c:v>
                </c:pt>
                <c:pt idx="16">
                  <c:v>86906</c:v>
                </c:pt>
                <c:pt idx="17">
                  <c:v>94469</c:v>
                </c:pt>
                <c:pt idx="18">
                  <c:v>321855</c:v>
                </c:pt>
                <c:pt idx="19">
                  <c:v>61044</c:v>
                </c:pt>
                <c:pt idx="20">
                  <c:v>56348</c:v>
                </c:pt>
                <c:pt idx="21">
                  <c:v>65426</c:v>
                </c:pt>
                <c:pt idx="22">
                  <c:v>67930</c:v>
                </c:pt>
                <c:pt idx="23">
                  <c:v>82007</c:v>
                </c:pt>
                <c:pt idx="24">
                  <c:v>789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3.0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0.4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3.09</c:v>
                </c:pt>
                <c:pt idx="1">
                  <c:v>44.37</c:v>
                </c:pt>
                <c:pt idx="2">
                  <c:v>42.83</c:v>
                </c:pt>
                <c:pt idx="3">
                  <c:v>40.32</c:v>
                </c:pt>
                <c:pt idx="4">
                  <c:v>43.81</c:v>
                </c:pt>
                <c:pt idx="5">
                  <c:v>40.65</c:v>
                </c:pt>
                <c:pt idx="6">
                  <c:v>46.86</c:v>
                </c:pt>
                <c:pt idx="7">
                  <c:v>47.44</c:v>
                </c:pt>
                <c:pt idx="8">
                  <c:v>41.35</c:v>
                </c:pt>
                <c:pt idx="9">
                  <c:v>39.88</c:v>
                </c:pt>
                <c:pt idx="10">
                  <c:v>39.17</c:v>
                </c:pt>
                <c:pt idx="11">
                  <c:v>43.35</c:v>
                </c:pt>
                <c:pt idx="12">
                  <c:v>42.98</c:v>
                </c:pt>
                <c:pt idx="13">
                  <c:v>40.44</c:v>
                </c:pt>
                <c:pt idx="14">
                  <c:v>41.64</c:v>
                </c:pt>
                <c:pt idx="15">
                  <c:v>38.63</c:v>
                </c:pt>
                <c:pt idx="16">
                  <c:v>41.19</c:v>
                </c:pt>
                <c:pt idx="17">
                  <c:v>43.43</c:v>
                </c:pt>
                <c:pt idx="18">
                  <c:v>48.22</c:v>
                </c:pt>
                <c:pt idx="19">
                  <c:v>42.66</c:v>
                </c:pt>
                <c:pt idx="20">
                  <c:v>41.99</c:v>
                </c:pt>
                <c:pt idx="21">
                  <c:v>42.68</c:v>
                </c:pt>
                <c:pt idx="22">
                  <c:v>42.32</c:v>
                </c:pt>
                <c:pt idx="23">
                  <c:v>41.8</c:v>
                </c:pt>
                <c:pt idx="24">
                  <c:v>44.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3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7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1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9391</c:v>
                </c:pt>
                <c:pt idx="1">
                  <c:v>16027</c:v>
                </c:pt>
                <c:pt idx="2">
                  <c:v>10986</c:v>
                </c:pt>
                <c:pt idx="3">
                  <c:v>14555</c:v>
                </c:pt>
                <c:pt idx="4">
                  <c:v>15066</c:v>
                </c:pt>
                <c:pt idx="5">
                  <c:v>20190</c:v>
                </c:pt>
                <c:pt idx="6">
                  <c:v>46061</c:v>
                </c:pt>
                <c:pt idx="7">
                  <c:v>19819</c:v>
                </c:pt>
                <c:pt idx="8">
                  <c:v>12978</c:v>
                </c:pt>
                <c:pt idx="9">
                  <c:v>17206</c:v>
                </c:pt>
                <c:pt idx="10">
                  <c:v>15123</c:v>
                </c:pt>
                <c:pt idx="11">
                  <c:v>17084</c:v>
                </c:pt>
                <c:pt idx="12">
                  <c:v>19096</c:v>
                </c:pt>
                <c:pt idx="13">
                  <c:v>14760</c:v>
                </c:pt>
                <c:pt idx="14">
                  <c:v>11636</c:v>
                </c:pt>
                <c:pt idx="15">
                  <c:v>17599</c:v>
                </c:pt>
                <c:pt idx="16">
                  <c:v>20662</c:v>
                </c:pt>
                <c:pt idx="17">
                  <c:v>23090</c:v>
                </c:pt>
                <c:pt idx="18">
                  <c:v>32777</c:v>
                </c:pt>
                <c:pt idx="19">
                  <c:v>16248</c:v>
                </c:pt>
                <c:pt idx="20">
                  <c:v>15413</c:v>
                </c:pt>
                <c:pt idx="21">
                  <c:v>17758</c:v>
                </c:pt>
                <c:pt idx="22">
                  <c:v>15363</c:v>
                </c:pt>
                <c:pt idx="23">
                  <c:v>18779</c:v>
                </c:pt>
                <c:pt idx="24">
                  <c:v>1717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5.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6.1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5.08</c:v>
                </c:pt>
                <c:pt idx="1">
                  <c:v>14.76</c:v>
                </c:pt>
                <c:pt idx="2">
                  <c:v>14.91</c:v>
                </c:pt>
                <c:pt idx="3">
                  <c:v>13.43</c:v>
                </c:pt>
                <c:pt idx="4">
                  <c:v>14.81</c:v>
                </c:pt>
                <c:pt idx="5">
                  <c:v>13.66</c:v>
                </c:pt>
                <c:pt idx="6">
                  <c:v>13.44</c:v>
                </c:pt>
                <c:pt idx="7">
                  <c:v>15.06</c:v>
                </c:pt>
                <c:pt idx="8">
                  <c:v>15.23</c:v>
                </c:pt>
                <c:pt idx="9">
                  <c:v>15.27</c:v>
                </c:pt>
                <c:pt idx="10">
                  <c:v>15.32</c:v>
                </c:pt>
                <c:pt idx="11">
                  <c:v>15.34</c:v>
                </c:pt>
                <c:pt idx="12">
                  <c:v>15.6</c:v>
                </c:pt>
                <c:pt idx="13">
                  <c:v>15.33</c:v>
                </c:pt>
                <c:pt idx="14">
                  <c:v>15.33</c:v>
                </c:pt>
                <c:pt idx="15">
                  <c:v>14.41</c:v>
                </c:pt>
                <c:pt idx="16">
                  <c:v>14.65</c:v>
                </c:pt>
                <c:pt idx="17">
                  <c:v>14.83</c:v>
                </c:pt>
                <c:pt idx="18">
                  <c:v>14.95</c:v>
                </c:pt>
                <c:pt idx="19">
                  <c:v>15.79</c:v>
                </c:pt>
                <c:pt idx="20">
                  <c:v>15.17</c:v>
                </c:pt>
                <c:pt idx="21">
                  <c:v>15.69</c:v>
                </c:pt>
                <c:pt idx="22">
                  <c:v>15.84</c:v>
                </c:pt>
                <c:pt idx="23">
                  <c:v>15.82</c:v>
                </c:pt>
                <c:pt idx="24">
                  <c:v>16.1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7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730</c:v>
                </c:pt>
                <c:pt idx="1">
                  <c:v>5440</c:v>
                </c:pt>
                <c:pt idx="2">
                  <c:v>4987</c:v>
                </c:pt>
                <c:pt idx="3">
                  <c:v>6058</c:v>
                </c:pt>
                <c:pt idx="4">
                  <c:v>7168</c:v>
                </c:pt>
                <c:pt idx="5">
                  <c:v>7212</c:v>
                </c:pt>
                <c:pt idx="6">
                  <c:v>14429</c:v>
                </c:pt>
                <c:pt idx="7">
                  <c:v>8533</c:v>
                </c:pt>
                <c:pt idx="8">
                  <c:v>5816</c:v>
                </c:pt>
                <c:pt idx="9">
                  <c:v>7991</c:v>
                </c:pt>
                <c:pt idx="10">
                  <c:v>6081</c:v>
                </c:pt>
                <c:pt idx="11">
                  <c:v>6046</c:v>
                </c:pt>
                <c:pt idx="12">
                  <c:v>7289</c:v>
                </c:pt>
                <c:pt idx="13">
                  <c:v>5912</c:v>
                </c:pt>
                <c:pt idx="14">
                  <c:v>4132</c:v>
                </c:pt>
                <c:pt idx="15">
                  <c:v>9372</c:v>
                </c:pt>
                <c:pt idx="16">
                  <c:v>8921</c:v>
                </c:pt>
                <c:pt idx="17">
                  <c:v>8516</c:v>
                </c:pt>
                <c:pt idx="18">
                  <c:v>11503</c:v>
                </c:pt>
                <c:pt idx="19">
                  <c:v>6479</c:v>
                </c:pt>
                <c:pt idx="20">
                  <c:v>7054</c:v>
                </c:pt>
                <c:pt idx="21">
                  <c:v>8492</c:v>
                </c:pt>
                <c:pt idx="22">
                  <c:v>7115</c:v>
                </c:pt>
                <c:pt idx="23">
                  <c:v>7753</c:v>
                </c:pt>
                <c:pt idx="24">
                  <c:v>72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5.5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6.5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6.9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5.51</c:v>
                </c:pt>
                <c:pt idx="1">
                  <c:v>15.72</c:v>
                </c:pt>
                <c:pt idx="2">
                  <c:v>15.88</c:v>
                </c:pt>
                <c:pt idx="3">
                  <c:v>13.86</c:v>
                </c:pt>
                <c:pt idx="4">
                  <c:v>15.38</c:v>
                </c:pt>
                <c:pt idx="5">
                  <c:v>14.34</c:v>
                </c:pt>
                <c:pt idx="6">
                  <c:v>13.72</c:v>
                </c:pt>
                <c:pt idx="7">
                  <c:v>16.01</c:v>
                </c:pt>
                <c:pt idx="8">
                  <c:v>15.98</c:v>
                </c:pt>
                <c:pt idx="9">
                  <c:v>16.14</c:v>
                </c:pt>
                <c:pt idx="10">
                  <c:v>16.04</c:v>
                </c:pt>
                <c:pt idx="11">
                  <c:v>15.87</c:v>
                </c:pt>
                <c:pt idx="12">
                  <c:v>16.06</c:v>
                </c:pt>
                <c:pt idx="13">
                  <c:v>16.51</c:v>
                </c:pt>
                <c:pt idx="14">
                  <c:v>15.89</c:v>
                </c:pt>
                <c:pt idx="15">
                  <c:v>15.09</c:v>
                </c:pt>
                <c:pt idx="16">
                  <c:v>14.94</c:v>
                </c:pt>
                <c:pt idx="17">
                  <c:v>15.68</c:v>
                </c:pt>
                <c:pt idx="18">
                  <c:v>15.65</c:v>
                </c:pt>
                <c:pt idx="19">
                  <c:v>16.66</c:v>
                </c:pt>
                <c:pt idx="20">
                  <c:v>15.85</c:v>
                </c:pt>
                <c:pt idx="21">
                  <c:v>16.39</c:v>
                </c:pt>
                <c:pt idx="22">
                  <c:v>16.7</c:v>
                </c:pt>
                <c:pt idx="23">
                  <c:v>16.6</c:v>
                </c:pt>
                <c:pt idx="24">
                  <c:v>16.9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42</c:v>
                </c:pt>
                <c:pt idx="1">
                  <c:v>1212</c:v>
                </c:pt>
                <c:pt idx="2">
                  <c:v>704</c:v>
                </c:pt>
                <c:pt idx="3">
                  <c:v>1395</c:v>
                </c:pt>
                <c:pt idx="4">
                  <c:v>1759</c:v>
                </c:pt>
                <c:pt idx="5">
                  <c:v>1351</c:v>
                </c:pt>
                <c:pt idx="6">
                  <c:v>3098</c:v>
                </c:pt>
                <c:pt idx="7">
                  <c:v>881</c:v>
                </c:pt>
                <c:pt idx="8">
                  <c:v>432</c:v>
                </c:pt>
                <c:pt idx="9">
                  <c:v>2214</c:v>
                </c:pt>
                <c:pt idx="10">
                  <c:v>1395</c:v>
                </c:pt>
                <c:pt idx="11">
                  <c:v>807</c:v>
                </c:pt>
                <c:pt idx="12">
                  <c:v>860</c:v>
                </c:pt>
                <c:pt idx="13">
                  <c:v>807</c:v>
                </c:pt>
                <c:pt idx="14">
                  <c:v>420</c:v>
                </c:pt>
                <c:pt idx="15">
                  <c:v>812</c:v>
                </c:pt>
                <c:pt idx="16">
                  <c:v>1112</c:v>
                </c:pt>
                <c:pt idx="17">
                  <c:v>1777</c:v>
                </c:pt>
                <c:pt idx="18">
                  <c:v>1718</c:v>
                </c:pt>
                <c:pt idx="19">
                  <c:v>1341</c:v>
                </c:pt>
                <c:pt idx="20">
                  <c:v>1280</c:v>
                </c:pt>
                <c:pt idx="21">
                  <c:v>873</c:v>
                </c:pt>
                <c:pt idx="22">
                  <c:v>337</c:v>
                </c:pt>
                <c:pt idx="23">
                  <c:v>837</c:v>
                </c:pt>
                <c:pt idx="24">
                  <c:v>11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5.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8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7.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5.64</c:v>
                </c:pt>
                <c:pt idx="1">
                  <c:v>15.54</c:v>
                </c:pt>
                <c:pt idx="2">
                  <c:v>16.76</c:v>
                </c:pt>
                <c:pt idx="3">
                  <c:v>13.68</c:v>
                </c:pt>
                <c:pt idx="4">
                  <c:v>15.71</c:v>
                </c:pt>
                <c:pt idx="5">
                  <c:v>14.07</c:v>
                </c:pt>
                <c:pt idx="6">
                  <c:v>13.65</c:v>
                </c:pt>
                <c:pt idx="7">
                  <c:v>15.46</c:v>
                </c:pt>
                <c:pt idx="8">
                  <c:v>14.9</c:v>
                </c:pt>
                <c:pt idx="9">
                  <c:v>15.81</c:v>
                </c:pt>
                <c:pt idx="10">
                  <c:v>15.85</c:v>
                </c:pt>
                <c:pt idx="11">
                  <c:v>16.14</c:v>
                </c:pt>
                <c:pt idx="12">
                  <c:v>16.23</c:v>
                </c:pt>
                <c:pt idx="13">
                  <c:v>15.82</c:v>
                </c:pt>
                <c:pt idx="14">
                  <c:v>16.8</c:v>
                </c:pt>
                <c:pt idx="15">
                  <c:v>14.76</c:v>
                </c:pt>
                <c:pt idx="16">
                  <c:v>14.44</c:v>
                </c:pt>
                <c:pt idx="17">
                  <c:v>15.32</c:v>
                </c:pt>
                <c:pt idx="18">
                  <c:v>15.62</c:v>
                </c:pt>
                <c:pt idx="19">
                  <c:v>16.16</c:v>
                </c:pt>
                <c:pt idx="20">
                  <c:v>16.84</c:v>
                </c:pt>
                <c:pt idx="21">
                  <c:v>16.17</c:v>
                </c:pt>
                <c:pt idx="22">
                  <c:v>16.85</c:v>
                </c:pt>
                <c:pt idx="23">
                  <c:v>16.41</c:v>
                </c:pt>
                <c:pt idx="24">
                  <c:v>17.2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5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2,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2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1538</c:v>
                </c:pt>
                <c:pt idx="1">
                  <c:v>37360</c:v>
                </c:pt>
                <c:pt idx="2">
                  <c:v>27971</c:v>
                </c:pt>
                <c:pt idx="3">
                  <c:v>51791</c:v>
                </c:pt>
                <c:pt idx="4">
                  <c:v>56301</c:v>
                </c:pt>
                <c:pt idx="5">
                  <c:v>56749</c:v>
                </c:pt>
                <c:pt idx="6">
                  <c:v>123828</c:v>
                </c:pt>
                <c:pt idx="7">
                  <c:v>70896</c:v>
                </c:pt>
                <c:pt idx="8">
                  <c:v>44631</c:v>
                </c:pt>
                <c:pt idx="9">
                  <c:v>58368</c:v>
                </c:pt>
                <c:pt idx="10">
                  <c:v>47339</c:v>
                </c:pt>
                <c:pt idx="11">
                  <c:v>50878</c:v>
                </c:pt>
                <c:pt idx="12">
                  <c:v>62427</c:v>
                </c:pt>
                <c:pt idx="13">
                  <c:v>42731</c:v>
                </c:pt>
                <c:pt idx="14">
                  <c:v>25633</c:v>
                </c:pt>
                <c:pt idx="15">
                  <c:v>57213</c:v>
                </c:pt>
                <c:pt idx="16">
                  <c:v>62301</c:v>
                </c:pt>
                <c:pt idx="17">
                  <c:v>70814</c:v>
                </c:pt>
                <c:pt idx="18">
                  <c:v>94224</c:v>
                </c:pt>
                <c:pt idx="19">
                  <c:v>62685</c:v>
                </c:pt>
                <c:pt idx="20">
                  <c:v>54940</c:v>
                </c:pt>
                <c:pt idx="21">
                  <c:v>62769</c:v>
                </c:pt>
                <c:pt idx="22">
                  <c:v>50258</c:v>
                </c:pt>
                <c:pt idx="23">
                  <c:v>60087</c:v>
                </c:pt>
                <c:pt idx="24">
                  <c:v>612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5.6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6.1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6.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5.66</c:v>
                </c:pt>
                <c:pt idx="1">
                  <c:v>15.82</c:v>
                </c:pt>
                <c:pt idx="2">
                  <c:v>15.69</c:v>
                </c:pt>
                <c:pt idx="3">
                  <c:v>13.96</c:v>
                </c:pt>
                <c:pt idx="4">
                  <c:v>15.51</c:v>
                </c:pt>
                <c:pt idx="5">
                  <c:v>14.2</c:v>
                </c:pt>
                <c:pt idx="6">
                  <c:v>13.58</c:v>
                </c:pt>
                <c:pt idx="7">
                  <c:v>15.8</c:v>
                </c:pt>
                <c:pt idx="8">
                  <c:v>15.85</c:v>
                </c:pt>
                <c:pt idx="9">
                  <c:v>15.88</c:v>
                </c:pt>
                <c:pt idx="10">
                  <c:v>15.89</c:v>
                </c:pt>
                <c:pt idx="11">
                  <c:v>15.85</c:v>
                </c:pt>
                <c:pt idx="12">
                  <c:v>15.97</c:v>
                </c:pt>
                <c:pt idx="13">
                  <c:v>16.1</c:v>
                </c:pt>
                <c:pt idx="14">
                  <c:v>16.0</c:v>
                </c:pt>
                <c:pt idx="15">
                  <c:v>14.78</c:v>
                </c:pt>
                <c:pt idx="16">
                  <c:v>14.96</c:v>
                </c:pt>
                <c:pt idx="17">
                  <c:v>15.51</c:v>
                </c:pt>
                <c:pt idx="18">
                  <c:v>15.54</c:v>
                </c:pt>
                <c:pt idx="19">
                  <c:v>16.26</c:v>
                </c:pt>
                <c:pt idx="20">
                  <c:v>15.76</c:v>
                </c:pt>
                <c:pt idx="21">
                  <c:v>16.39</c:v>
                </c:pt>
                <c:pt idx="22">
                  <c:v>16.66</c:v>
                </c:pt>
                <c:pt idx="23">
                  <c:v>16.48</c:v>
                </c:pt>
                <c:pt idx="24">
                  <c:v>16.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7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1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9742</c:v>
                </c:pt>
                <c:pt idx="1">
                  <c:v>7878</c:v>
                </c:pt>
                <c:pt idx="2">
                  <c:v>8327</c:v>
                </c:pt>
                <c:pt idx="3">
                  <c:v>8020</c:v>
                </c:pt>
                <c:pt idx="4">
                  <c:v>7570</c:v>
                </c:pt>
                <c:pt idx="5">
                  <c:v>11637</c:v>
                </c:pt>
                <c:pt idx="6">
                  <c:v>23109</c:v>
                </c:pt>
                <c:pt idx="7">
                  <c:v>8546</c:v>
                </c:pt>
                <c:pt idx="8">
                  <c:v>7087</c:v>
                </c:pt>
                <c:pt idx="9">
                  <c:v>6921</c:v>
                </c:pt>
                <c:pt idx="10">
                  <c:v>10989</c:v>
                </c:pt>
                <c:pt idx="11">
                  <c:v>10474</c:v>
                </c:pt>
                <c:pt idx="12">
                  <c:v>11899</c:v>
                </c:pt>
                <c:pt idx="13">
                  <c:v>10369</c:v>
                </c:pt>
                <c:pt idx="14">
                  <c:v>9556</c:v>
                </c:pt>
                <c:pt idx="15">
                  <c:v>7465</c:v>
                </c:pt>
                <c:pt idx="16">
                  <c:v>9535</c:v>
                </c:pt>
                <c:pt idx="17">
                  <c:v>11398</c:v>
                </c:pt>
                <c:pt idx="18">
                  <c:v>22459</c:v>
                </c:pt>
                <c:pt idx="19">
                  <c:v>5647</c:v>
                </c:pt>
                <c:pt idx="20">
                  <c:v>6433</c:v>
                </c:pt>
                <c:pt idx="21">
                  <c:v>6086</c:v>
                </c:pt>
                <c:pt idx="22">
                  <c:v>8063</c:v>
                </c:pt>
                <c:pt idx="23">
                  <c:v>10694</c:v>
                </c:pt>
                <c:pt idx="24">
                  <c:v>81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2.2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0.1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1.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2.26</c:v>
                </c:pt>
                <c:pt idx="1">
                  <c:v>32.42</c:v>
                </c:pt>
                <c:pt idx="2">
                  <c:v>31.66</c:v>
                </c:pt>
                <c:pt idx="3">
                  <c:v>31.09</c:v>
                </c:pt>
                <c:pt idx="4">
                  <c:v>31.41</c:v>
                </c:pt>
                <c:pt idx="5">
                  <c:v>29.31</c:v>
                </c:pt>
                <c:pt idx="6">
                  <c:v>30.65</c:v>
                </c:pt>
                <c:pt idx="7">
                  <c:v>32.74</c:v>
                </c:pt>
                <c:pt idx="8">
                  <c:v>33.59</c:v>
                </c:pt>
                <c:pt idx="9">
                  <c:v>33.11</c:v>
                </c:pt>
                <c:pt idx="10">
                  <c:v>33.92</c:v>
                </c:pt>
                <c:pt idx="11">
                  <c:v>34.23</c:v>
                </c:pt>
                <c:pt idx="12">
                  <c:v>30.28</c:v>
                </c:pt>
                <c:pt idx="13">
                  <c:v>30.14</c:v>
                </c:pt>
                <c:pt idx="14">
                  <c:v>31.43</c:v>
                </c:pt>
                <c:pt idx="15">
                  <c:v>30.85</c:v>
                </c:pt>
                <c:pt idx="16">
                  <c:v>29.89</c:v>
                </c:pt>
                <c:pt idx="17">
                  <c:v>33.04</c:v>
                </c:pt>
                <c:pt idx="18">
                  <c:v>32.55</c:v>
                </c:pt>
                <c:pt idx="19">
                  <c:v>32.83</c:v>
                </c:pt>
                <c:pt idx="20">
                  <c:v>32.33</c:v>
                </c:pt>
                <c:pt idx="21">
                  <c:v>33.08</c:v>
                </c:pt>
                <c:pt idx="22">
                  <c:v>31.87</c:v>
                </c:pt>
                <c:pt idx="23">
                  <c:v>30.29</c:v>
                </c:pt>
                <c:pt idx="24">
                  <c:v>31.8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5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877</c:v>
                </c:pt>
                <c:pt idx="1">
                  <c:v>3117</c:v>
                </c:pt>
                <c:pt idx="2">
                  <c:v>3240</c:v>
                </c:pt>
                <c:pt idx="3">
                  <c:v>3219</c:v>
                </c:pt>
                <c:pt idx="4">
                  <c:v>3329</c:v>
                </c:pt>
                <c:pt idx="5">
                  <c:v>2593</c:v>
                </c:pt>
                <c:pt idx="6">
                  <c:v>7906</c:v>
                </c:pt>
                <c:pt idx="7">
                  <c:v>3201</c:v>
                </c:pt>
                <c:pt idx="8">
                  <c:v>2133</c:v>
                </c:pt>
                <c:pt idx="9">
                  <c:v>2490</c:v>
                </c:pt>
                <c:pt idx="10">
                  <c:v>2179</c:v>
                </c:pt>
                <c:pt idx="11">
                  <c:v>2386</c:v>
                </c:pt>
                <c:pt idx="12">
                  <c:v>2487</c:v>
                </c:pt>
                <c:pt idx="13">
                  <c:v>2517</c:v>
                </c:pt>
                <c:pt idx="14">
                  <c:v>3032</c:v>
                </c:pt>
                <c:pt idx="15">
                  <c:v>2621</c:v>
                </c:pt>
                <c:pt idx="16">
                  <c:v>3614</c:v>
                </c:pt>
                <c:pt idx="17">
                  <c:v>2986</c:v>
                </c:pt>
                <c:pt idx="18">
                  <c:v>5734</c:v>
                </c:pt>
                <c:pt idx="19">
                  <c:v>2267</c:v>
                </c:pt>
                <c:pt idx="20">
                  <c:v>2899</c:v>
                </c:pt>
                <c:pt idx="21">
                  <c:v>2422</c:v>
                </c:pt>
                <c:pt idx="22">
                  <c:v>2563</c:v>
                </c:pt>
                <c:pt idx="23">
                  <c:v>2731</c:v>
                </c:pt>
                <c:pt idx="24">
                  <c:v>250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5.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1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5.06</c:v>
                </c:pt>
                <c:pt idx="1">
                  <c:v>15.2</c:v>
                </c:pt>
                <c:pt idx="2">
                  <c:v>14.79</c:v>
                </c:pt>
                <c:pt idx="3">
                  <c:v>13.58</c:v>
                </c:pt>
                <c:pt idx="4">
                  <c:v>14.6</c:v>
                </c:pt>
                <c:pt idx="5">
                  <c:v>13.51</c:v>
                </c:pt>
                <c:pt idx="6">
                  <c:v>13.29</c:v>
                </c:pt>
                <c:pt idx="7">
                  <c:v>14.23</c:v>
                </c:pt>
                <c:pt idx="8">
                  <c:v>15.35</c:v>
                </c:pt>
                <c:pt idx="9">
                  <c:v>14.91</c:v>
                </c:pt>
                <c:pt idx="10">
                  <c:v>15.03</c:v>
                </c:pt>
                <c:pt idx="11">
                  <c:v>15.2</c:v>
                </c:pt>
                <c:pt idx="12">
                  <c:v>15.54</c:v>
                </c:pt>
                <c:pt idx="13">
                  <c:v>15.35</c:v>
                </c:pt>
                <c:pt idx="14">
                  <c:v>15.47</c:v>
                </c:pt>
                <c:pt idx="15">
                  <c:v>14.4</c:v>
                </c:pt>
                <c:pt idx="16">
                  <c:v>14.06</c:v>
                </c:pt>
                <c:pt idx="17">
                  <c:v>14.36</c:v>
                </c:pt>
                <c:pt idx="18">
                  <c:v>14.19</c:v>
                </c:pt>
                <c:pt idx="19">
                  <c:v>14.91</c:v>
                </c:pt>
                <c:pt idx="20">
                  <c:v>14.72</c:v>
                </c:pt>
                <c:pt idx="21">
                  <c:v>15.43</c:v>
                </c:pt>
                <c:pt idx="22">
                  <c:v>15.82</c:v>
                </c:pt>
                <c:pt idx="23">
                  <c:v>15.52</c:v>
                </c:pt>
                <c:pt idx="24">
                  <c:v>15.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120</c:v>
                </c:pt>
                <c:pt idx="1">
                  <c:v>4662</c:v>
                </c:pt>
                <c:pt idx="2">
                  <c:v>3450</c:v>
                </c:pt>
                <c:pt idx="3">
                  <c:v>3362</c:v>
                </c:pt>
                <c:pt idx="4">
                  <c:v>3936</c:v>
                </c:pt>
                <c:pt idx="5">
                  <c:v>5135</c:v>
                </c:pt>
                <c:pt idx="6">
                  <c:v>9934</c:v>
                </c:pt>
                <c:pt idx="7">
                  <c:v>5513</c:v>
                </c:pt>
                <c:pt idx="8">
                  <c:v>3027</c:v>
                </c:pt>
                <c:pt idx="9">
                  <c:v>3913</c:v>
                </c:pt>
                <c:pt idx="10">
                  <c:v>3320</c:v>
                </c:pt>
                <c:pt idx="11">
                  <c:v>3285</c:v>
                </c:pt>
                <c:pt idx="12">
                  <c:v>5513</c:v>
                </c:pt>
                <c:pt idx="13">
                  <c:v>4648</c:v>
                </c:pt>
                <c:pt idx="14">
                  <c:v>3716</c:v>
                </c:pt>
                <c:pt idx="15">
                  <c:v>4569</c:v>
                </c:pt>
                <c:pt idx="16">
                  <c:v>4735</c:v>
                </c:pt>
                <c:pt idx="17">
                  <c:v>4476</c:v>
                </c:pt>
                <c:pt idx="18">
                  <c:v>6943</c:v>
                </c:pt>
                <c:pt idx="19">
                  <c:v>3457</c:v>
                </c:pt>
                <c:pt idx="20">
                  <c:v>2972</c:v>
                </c:pt>
                <c:pt idx="21">
                  <c:v>3424</c:v>
                </c:pt>
                <c:pt idx="22">
                  <c:v>3215</c:v>
                </c:pt>
                <c:pt idx="23">
                  <c:v>3585</c:v>
                </c:pt>
                <c:pt idx="24">
                  <c:v>24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2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8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95</c:v>
                </c:pt>
                <c:pt idx="1">
                  <c:v>13.63</c:v>
                </c:pt>
                <c:pt idx="2">
                  <c:v>14.38</c:v>
                </c:pt>
                <c:pt idx="3">
                  <c:v>13.5</c:v>
                </c:pt>
                <c:pt idx="4">
                  <c:v>14.16</c:v>
                </c:pt>
                <c:pt idx="5">
                  <c:v>13.66</c:v>
                </c:pt>
                <c:pt idx="6">
                  <c:v>13.32</c:v>
                </c:pt>
                <c:pt idx="7">
                  <c:v>13.78</c:v>
                </c:pt>
                <c:pt idx="8">
                  <c:v>14.08</c:v>
                </c:pt>
                <c:pt idx="9">
                  <c:v>14.08</c:v>
                </c:pt>
                <c:pt idx="10">
                  <c:v>14.01</c:v>
                </c:pt>
                <c:pt idx="11">
                  <c:v>14.41</c:v>
                </c:pt>
                <c:pt idx="12">
                  <c:v>14.17</c:v>
                </c:pt>
                <c:pt idx="13">
                  <c:v>14.21</c:v>
                </c:pt>
                <c:pt idx="14">
                  <c:v>14.63</c:v>
                </c:pt>
                <c:pt idx="15">
                  <c:v>14.28</c:v>
                </c:pt>
                <c:pt idx="16">
                  <c:v>13.97</c:v>
                </c:pt>
                <c:pt idx="17">
                  <c:v>13.81</c:v>
                </c:pt>
                <c:pt idx="18">
                  <c:v>14.14</c:v>
                </c:pt>
                <c:pt idx="19">
                  <c:v>14.46</c:v>
                </c:pt>
                <c:pt idx="20">
                  <c:v>13.95</c:v>
                </c:pt>
                <c:pt idx="21">
                  <c:v>14.39</c:v>
                </c:pt>
                <c:pt idx="22">
                  <c:v>14.95</c:v>
                </c:pt>
                <c:pt idx="23">
                  <c:v>14.63</c:v>
                </c:pt>
                <c:pt idx="24">
                  <c:v>14.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252</c:v>
                </c:pt>
                <c:pt idx="1">
                  <c:v>6500</c:v>
                </c:pt>
                <c:pt idx="2">
                  <c:v>4190</c:v>
                </c:pt>
                <c:pt idx="3">
                  <c:v>5108</c:v>
                </c:pt>
                <c:pt idx="4">
                  <c:v>4751</c:v>
                </c:pt>
                <c:pt idx="5">
                  <c:v>7139</c:v>
                </c:pt>
                <c:pt idx="6">
                  <c:v>14383</c:v>
                </c:pt>
                <c:pt idx="7">
                  <c:v>6569</c:v>
                </c:pt>
                <c:pt idx="8">
                  <c:v>4692</c:v>
                </c:pt>
                <c:pt idx="9">
                  <c:v>7463</c:v>
                </c:pt>
                <c:pt idx="10">
                  <c:v>5078</c:v>
                </c:pt>
                <c:pt idx="11">
                  <c:v>5879</c:v>
                </c:pt>
                <c:pt idx="12">
                  <c:v>5998</c:v>
                </c:pt>
                <c:pt idx="13">
                  <c:v>4669</c:v>
                </c:pt>
                <c:pt idx="14">
                  <c:v>4452</c:v>
                </c:pt>
                <c:pt idx="15">
                  <c:v>5426</c:v>
                </c:pt>
                <c:pt idx="16">
                  <c:v>6490</c:v>
                </c:pt>
                <c:pt idx="17">
                  <c:v>6139</c:v>
                </c:pt>
                <c:pt idx="18">
                  <c:v>11412</c:v>
                </c:pt>
                <c:pt idx="19">
                  <c:v>4621</c:v>
                </c:pt>
                <c:pt idx="20">
                  <c:v>4199</c:v>
                </c:pt>
                <c:pt idx="21">
                  <c:v>5503</c:v>
                </c:pt>
                <c:pt idx="22">
                  <c:v>4707</c:v>
                </c:pt>
                <c:pt idx="23">
                  <c:v>5224</c:v>
                </c:pt>
                <c:pt idx="24">
                  <c:v>454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0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33</c:v>
                </c:pt>
                <c:pt idx="1">
                  <c:v>13.46</c:v>
                </c:pt>
                <c:pt idx="2">
                  <c:v>13.56</c:v>
                </c:pt>
                <c:pt idx="3">
                  <c:v>13.44</c:v>
                </c:pt>
                <c:pt idx="4">
                  <c:v>13.54</c:v>
                </c:pt>
                <c:pt idx="5">
                  <c:v>13.12</c:v>
                </c:pt>
                <c:pt idx="6">
                  <c:v>13.06</c:v>
                </c:pt>
                <c:pt idx="7">
                  <c:v>13.6</c:v>
                </c:pt>
                <c:pt idx="8">
                  <c:v>14.35</c:v>
                </c:pt>
                <c:pt idx="9">
                  <c:v>14.08</c:v>
                </c:pt>
                <c:pt idx="10">
                  <c:v>14.26</c:v>
                </c:pt>
                <c:pt idx="11">
                  <c:v>14.27</c:v>
                </c:pt>
                <c:pt idx="12">
                  <c:v>14.05</c:v>
                </c:pt>
                <c:pt idx="13">
                  <c:v>14.73</c:v>
                </c:pt>
                <c:pt idx="14">
                  <c:v>14.5</c:v>
                </c:pt>
                <c:pt idx="15">
                  <c:v>14.13</c:v>
                </c:pt>
                <c:pt idx="16">
                  <c:v>13.96</c:v>
                </c:pt>
                <c:pt idx="17">
                  <c:v>14.24</c:v>
                </c:pt>
                <c:pt idx="18">
                  <c:v>13.95</c:v>
                </c:pt>
                <c:pt idx="19">
                  <c:v>14.53</c:v>
                </c:pt>
                <c:pt idx="20">
                  <c:v>14.53</c:v>
                </c:pt>
                <c:pt idx="21">
                  <c:v>14.83</c:v>
                </c:pt>
                <c:pt idx="22">
                  <c:v>15.14</c:v>
                </c:pt>
                <c:pt idx="23">
                  <c:v>14.93</c:v>
                </c:pt>
                <c:pt idx="24">
                  <c:v>15.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6115</c:v>
                </c:pt>
                <c:pt idx="1">
                  <c:v>6333</c:v>
                </c:pt>
                <c:pt idx="2">
                  <c:v>5678</c:v>
                </c:pt>
                <c:pt idx="3">
                  <c:v>5456</c:v>
                </c:pt>
                <c:pt idx="4">
                  <c:v>5416</c:v>
                </c:pt>
                <c:pt idx="5">
                  <c:v>6515</c:v>
                </c:pt>
                <c:pt idx="6">
                  <c:v>14408</c:v>
                </c:pt>
                <c:pt idx="7">
                  <c:v>7108</c:v>
                </c:pt>
                <c:pt idx="8">
                  <c:v>5079</c:v>
                </c:pt>
                <c:pt idx="9">
                  <c:v>6054</c:v>
                </c:pt>
                <c:pt idx="10">
                  <c:v>5934</c:v>
                </c:pt>
                <c:pt idx="11">
                  <c:v>5509</c:v>
                </c:pt>
                <c:pt idx="12">
                  <c:v>6099</c:v>
                </c:pt>
                <c:pt idx="13">
                  <c:v>5958</c:v>
                </c:pt>
                <c:pt idx="14">
                  <c:v>5050</c:v>
                </c:pt>
                <c:pt idx="15">
                  <c:v>5326</c:v>
                </c:pt>
                <c:pt idx="16">
                  <c:v>5191</c:v>
                </c:pt>
                <c:pt idx="17">
                  <c:v>7690</c:v>
                </c:pt>
                <c:pt idx="18">
                  <c:v>13183</c:v>
                </c:pt>
                <c:pt idx="19">
                  <c:v>4729</c:v>
                </c:pt>
                <c:pt idx="20">
                  <c:v>5061</c:v>
                </c:pt>
                <c:pt idx="21">
                  <c:v>5323</c:v>
                </c:pt>
                <c:pt idx="22">
                  <c:v>5709</c:v>
                </c:pt>
                <c:pt idx="23">
                  <c:v>5697</c:v>
                </c:pt>
                <c:pt idx="24">
                  <c:v>561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6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4.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63</c:v>
                </c:pt>
                <c:pt idx="1">
                  <c:v>12.82</c:v>
                </c:pt>
                <c:pt idx="2">
                  <c:v>12.76</c:v>
                </c:pt>
                <c:pt idx="3">
                  <c:v>12.51</c:v>
                </c:pt>
                <c:pt idx="4">
                  <c:v>12.68</c:v>
                </c:pt>
                <c:pt idx="5">
                  <c:v>12.68</c:v>
                </c:pt>
                <c:pt idx="6">
                  <c:v>13.17</c:v>
                </c:pt>
                <c:pt idx="7">
                  <c:v>13.19</c:v>
                </c:pt>
                <c:pt idx="8">
                  <c:v>13.47</c:v>
                </c:pt>
                <c:pt idx="9">
                  <c:v>13.7</c:v>
                </c:pt>
                <c:pt idx="10">
                  <c:v>13.58</c:v>
                </c:pt>
                <c:pt idx="11">
                  <c:v>13.57</c:v>
                </c:pt>
                <c:pt idx="12">
                  <c:v>13.58</c:v>
                </c:pt>
                <c:pt idx="13">
                  <c:v>13.48</c:v>
                </c:pt>
                <c:pt idx="14">
                  <c:v>13.76</c:v>
                </c:pt>
                <c:pt idx="15">
                  <c:v>13.48</c:v>
                </c:pt>
                <c:pt idx="16">
                  <c:v>13.81</c:v>
                </c:pt>
                <c:pt idx="17">
                  <c:v>13.81</c:v>
                </c:pt>
                <c:pt idx="18">
                  <c:v>13.75</c:v>
                </c:pt>
                <c:pt idx="19">
                  <c:v>14.07</c:v>
                </c:pt>
                <c:pt idx="20">
                  <c:v>13.6</c:v>
                </c:pt>
                <c:pt idx="21">
                  <c:v>14.23</c:v>
                </c:pt>
                <c:pt idx="22">
                  <c:v>14.2</c:v>
                </c:pt>
                <c:pt idx="23">
                  <c:v>14.46</c:v>
                </c:pt>
                <c:pt idx="24">
                  <c:v>14.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3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8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3081</c:v>
                </c:pt>
                <c:pt idx="1">
                  <c:v>10472</c:v>
                </c:pt>
                <c:pt idx="2">
                  <c:v>8577</c:v>
                </c:pt>
                <c:pt idx="3">
                  <c:v>12874</c:v>
                </c:pt>
                <c:pt idx="4">
                  <c:v>13197</c:v>
                </c:pt>
                <c:pt idx="5">
                  <c:v>16396</c:v>
                </c:pt>
                <c:pt idx="6">
                  <c:v>32141</c:v>
                </c:pt>
                <c:pt idx="7">
                  <c:v>18298</c:v>
                </c:pt>
                <c:pt idx="8">
                  <c:v>11040</c:v>
                </c:pt>
                <c:pt idx="9">
                  <c:v>14149</c:v>
                </c:pt>
                <c:pt idx="10">
                  <c:v>12867</c:v>
                </c:pt>
                <c:pt idx="11">
                  <c:v>13513</c:v>
                </c:pt>
                <c:pt idx="12">
                  <c:v>15272</c:v>
                </c:pt>
                <c:pt idx="13">
                  <c:v>11367</c:v>
                </c:pt>
                <c:pt idx="14">
                  <c:v>8227</c:v>
                </c:pt>
                <c:pt idx="15">
                  <c:v>15288</c:v>
                </c:pt>
                <c:pt idx="16">
                  <c:v>15965</c:v>
                </c:pt>
                <c:pt idx="17">
                  <c:v>17504</c:v>
                </c:pt>
                <c:pt idx="18">
                  <c:v>24632</c:v>
                </c:pt>
                <c:pt idx="19">
                  <c:v>14556</c:v>
                </c:pt>
                <c:pt idx="20">
                  <c:v>13785</c:v>
                </c:pt>
                <c:pt idx="21">
                  <c:v>15708</c:v>
                </c:pt>
                <c:pt idx="22">
                  <c:v>13222</c:v>
                </c:pt>
                <c:pt idx="23">
                  <c:v>16260</c:v>
                </c:pt>
                <c:pt idx="24">
                  <c:v>1480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6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4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6.2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4.66</c:v>
                </c:pt>
                <c:pt idx="1">
                  <c:v>14.83</c:v>
                </c:pt>
                <c:pt idx="2">
                  <c:v>14.92</c:v>
                </c:pt>
                <c:pt idx="3">
                  <c:v>13.72</c:v>
                </c:pt>
                <c:pt idx="4">
                  <c:v>14.78</c:v>
                </c:pt>
                <c:pt idx="5">
                  <c:v>13.64</c:v>
                </c:pt>
                <c:pt idx="6">
                  <c:v>13.35</c:v>
                </c:pt>
                <c:pt idx="7">
                  <c:v>15.19</c:v>
                </c:pt>
                <c:pt idx="8">
                  <c:v>15.21</c:v>
                </c:pt>
                <c:pt idx="9">
                  <c:v>15.31</c:v>
                </c:pt>
                <c:pt idx="10">
                  <c:v>15.26</c:v>
                </c:pt>
                <c:pt idx="11">
                  <c:v>15.17</c:v>
                </c:pt>
                <c:pt idx="12">
                  <c:v>15.29</c:v>
                </c:pt>
                <c:pt idx="13">
                  <c:v>15.4</c:v>
                </c:pt>
                <c:pt idx="14">
                  <c:v>15.32</c:v>
                </c:pt>
                <c:pt idx="15">
                  <c:v>14.23</c:v>
                </c:pt>
                <c:pt idx="16">
                  <c:v>14.57</c:v>
                </c:pt>
                <c:pt idx="17">
                  <c:v>15.16</c:v>
                </c:pt>
                <c:pt idx="18">
                  <c:v>15.06</c:v>
                </c:pt>
                <c:pt idx="19">
                  <c:v>15.67</c:v>
                </c:pt>
                <c:pt idx="20">
                  <c:v>15.2</c:v>
                </c:pt>
                <c:pt idx="21">
                  <c:v>16.01</c:v>
                </c:pt>
                <c:pt idx="22">
                  <c:v>16.01</c:v>
                </c:pt>
                <c:pt idx="23">
                  <c:v>15.91</c:v>
                </c:pt>
                <c:pt idx="24">
                  <c:v>16.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948,7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18,0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8,522,374</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8948733</c:v>
                </c:pt>
                <c:pt idx="1">
                  <c:v>8665813</c:v>
                </c:pt>
                <c:pt idx="2">
                  <c:v>8959756</c:v>
                </c:pt>
                <c:pt idx="3">
                  <c:v>8674069</c:v>
                </c:pt>
                <c:pt idx="4">
                  <c:v>9023328</c:v>
                </c:pt>
                <c:pt idx="5">
                  <c:v>8978368</c:v>
                </c:pt>
                <c:pt idx="6">
                  <c:v>8382612</c:v>
                </c:pt>
                <c:pt idx="7">
                  <c:v>8965766</c:v>
                </c:pt>
                <c:pt idx="8">
                  <c:v>8670670</c:v>
                </c:pt>
                <c:pt idx="9">
                  <c:v>8962191</c:v>
                </c:pt>
                <c:pt idx="10">
                  <c:v>8676670</c:v>
                </c:pt>
                <c:pt idx="11">
                  <c:v>8873544</c:v>
                </c:pt>
                <c:pt idx="12">
                  <c:v>8794698</c:v>
                </c:pt>
                <c:pt idx="13">
                  <c:v>8518087</c:v>
                </c:pt>
                <c:pt idx="14">
                  <c:v>8817488</c:v>
                </c:pt>
                <c:pt idx="15">
                  <c:v>8531737</c:v>
                </c:pt>
                <c:pt idx="16">
                  <c:v>8854449</c:v>
                </c:pt>
                <c:pt idx="17">
                  <c:v>8802822</c:v>
                </c:pt>
                <c:pt idx="18">
                  <c:v>7952084</c:v>
                </c:pt>
                <c:pt idx="19">
                  <c:v>8806095</c:v>
                </c:pt>
                <c:pt idx="20">
                  <c:v>8520906</c:v>
                </c:pt>
                <c:pt idx="21">
                  <c:v>8805391</c:v>
                </c:pt>
                <c:pt idx="22">
                  <c:v>852237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9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6.94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6.62</c:v>
                </c:pt>
                <c:pt idx="1">
                  <c:v>6.62</c:v>
                </c:pt>
                <c:pt idx="2">
                  <c:v>6.63</c:v>
                </c:pt>
                <c:pt idx="3">
                  <c:v>6.63</c:v>
                </c:pt>
                <c:pt idx="4">
                  <c:v>6.66</c:v>
                </c:pt>
                <c:pt idx="5">
                  <c:v>6.63</c:v>
                </c:pt>
                <c:pt idx="6">
                  <c:v>6.63</c:v>
                </c:pt>
                <c:pt idx="7">
                  <c:v>6.63</c:v>
                </c:pt>
                <c:pt idx="8">
                  <c:v>6.63</c:v>
                </c:pt>
                <c:pt idx="9">
                  <c:v>6.63</c:v>
                </c:pt>
                <c:pt idx="10">
                  <c:v>6.63</c:v>
                </c:pt>
                <c:pt idx="11">
                  <c:v>6.79</c:v>
                </c:pt>
                <c:pt idx="12">
                  <c:v>6.94</c:v>
                </c:pt>
                <c:pt idx="13">
                  <c:v>6.94</c:v>
                </c:pt>
                <c:pt idx="14">
                  <c:v>6.95</c:v>
                </c:pt>
                <c:pt idx="15">
                  <c:v>6.95</c:v>
                </c:pt>
                <c:pt idx="16">
                  <c:v>6.97</c:v>
                </c:pt>
                <c:pt idx="17">
                  <c:v>6.94</c:v>
                </c:pt>
                <c:pt idx="18">
                  <c:v>6.94</c:v>
                </c:pt>
                <c:pt idx="19">
                  <c:v>6.94</c:v>
                </c:pt>
                <c:pt idx="20">
                  <c:v>6.94</c:v>
                </c:pt>
                <c:pt idx="21">
                  <c:v>6.94</c:v>
                </c:pt>
                <c:pt idx="22">
                  <c:v>6.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922,3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485,2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8,485,259</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8922327</c:v>
                </c:pt>
                <c:pt idx="1">
                  <c:v>8634506</c:v>
                </c:pt>
                <c:pt idx="2">
                  <c:v>8922327</c:v>
                </c:pt>
                <c:pt idx="3">
                  <c:v>8634506</c:v>
                </c:pt>
                <c:pt idx="4">
                  <c:v>8922327</c:v>
                </c:pt>
                <c:pt idx="5">
                  <c:v>8922327</c:v>
                </c:pt>
                <c:pt idx="6">
                  <c:v>8346673</c:v>
                </c:pt>
                <c:pt idx="7">
                  <c:v>8922327</c:v>
                </c:pt>
                <c:pt idx="8">
                  <c:v>8634506</c:v>
                </c:pt>
                <c:pt idx="9">
                  <c:v>8922327</c:v>
                </c:pt>
                <c:pt idx="10">
                  <c:v>8634506</c:v>
                </c:pt>
                <c:pt idx="11">
                  <c:v>8837763</c:v>
                </c:pt>
                <c:pt idx="12">
                  <c:v>8768113</c:v>
                </c:pt>
                <c:pt idx="13">
                  <c:v>8485259</c:v>
                </c:pt>
                <c:pt idx="14">
                  <c:v>8768113</c:v>
                </c:pt>
                <c:pt idx="15">
                  <c:v>8485259</c:v>
                </c:pt>
                <c:pt idx="16">
                  <c:v>8768113</c:v>
                </c:pt>
                <c:pt idx="17">
                  <c:v>8768113</c:v>
                </c:pt>
                <c:pt idx="18">
                  <c:v>7919744</c:v>
                </c:pt>
                <c:pt idx="19">
                  <c:v>8768113</c:v>
                </c:pt>
                <c:pt idx="20">
                  <c:v>8485259</c:v>
                </c:pt>
                <c:pt idx="21">
                  <c:v>8768113</c:v>
                </c:pt>
                <c:pt idx="22">
                  <c:v>848525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6.92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6.61</c:v>
                </c:pt>
                <c:pt idx="1">
                  <c:v>6.61</c:v>
                </c:pt>
                <c:pt idx="2">
                  <c:v>6.61</c:v>
                </c:pt>
                <c:pt idx="3">
                  <c:v>6.61</c:v>
                </c:pt>
                <c:pt idx="4">
                  <c:v>6.61</c:v>
                </c:pt>
                <c:pt idx="5">
                  <c:v>6.61</c:v>
                </c:pt>
                <c:pt idx="6">
                  <c:v>6.61</c:v>
                </c:pt>
                <c:pt idx="7">
                  <c:v>6.61</c:v>
                </c:pt>
                <c:pt idx="8">
                  <c:v>6.61</c:v>
                </c:pt>
                <c:pt idx="9">
                  <c:v>6.61</c:v>
                </c:pt>
                <c:pt idx="10">
                  <c:v>6.61</c:v>
                </c:pt>
                <c:pt idx="11">
                  <c:v>6.77</c:v>
                </c:pt>
                <c:pt idx="12">
                  <c:v>6.92</c:v>
                </c:pt>
                <c:pt idx="13">
                  <c:v>6.92</c:v>
                </c:pt>
                <c:pt idx="14">
                  <c:v>6.92</c:v>
                </c:pt>
                <c:pt idx="15">
                  <c:v>6.92</c:v>
                </c:pt>
                <c:pt idx="16">
                  <c:v>6.92</c:v>
                </c:pt>
                <c:pt idx="17">
                  <c:v>6.92</c:v>
                </c:pt>
                <c:pt idx="18">
                  <c:v>6.92</c:v>
                </c:pt>
                <c:pt idx="19">
                  <c:v>6.92</c:v>
                </c:pt>
                <c:pt idx="20">
                  <c:v>6.92</c:v>
                </c:pt>
                <c:pt idx="21">
                  <c:v>6.92</c:v>
                </c:pt>
                <c:pt idx="22">
                  <c:v>6.9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395</c:v>
                </c:pt>
                <c:pt idx="1">
                  <c:v>1612</c:v>
                </c:pt>
                <c:pt idx="2">
                  <c:v>1522</c:v>
                </c:pt>
                <c:pt idx="3">
                  <c:v>2484</c:v>
                </c:pt>
                <c:pt idx="4">
                  <c:v>2046</c:v>
                </c:pt>
                <c:pt idx="5">
                  <c:v>3266</c:v>
                </c:pt>
                <c:pt idx="6">
                  <c:v>7394</c:v>
                </c:pt>
                <c:pt idx="7">
                  <c:v>3639</c:v>
                </c:pt>
                <c:pt idx="8">
                  <c:v>2508</c:v>
                </c:pt>
                <c:pt idx="9">
                  <c:v>3184</c:v>
                </c:pt>
                <c:pt idx="10">
                  <c:v>2194</c:v>
                </c:pt>
                <c:pt idx="11">
                  <c:v>2829</c:v>
                </c:pt>
                <c:pt idx="12">
                  <c:v>3568</c:v>
                </c:pt>
                <c:pt idx="13">
                  <c:v>3579</c:v>
                </c:pt>
                <c:pt idx="14">
                  <c:v>2588</c:v>
                </c:pt>
                <c:pt idx="15">
                  <c:v>2528</c:v>
                </c:pt>
                <c:pt idx="16">
                  <c:v>2771</c:v>
                </c:pt>
                <c:pt idx="17">
                  <c:v>3263</c:v>
                </c:pt>
                <c:pt idx="18">
                  <c:v>7687</c:v>
                </c:pt>
                <c:pt idx="19">
                  <c:v>2520</c:v>
                </c:pt>
                <c:pt idx="20">
                  <c:v>2314</c:v>
                </c:pt>
                <c:pt idx="21">
                  <c:v>2107</c:v>
                </c:pt>
                <c:pt idx="22">
                  <c:v>1686</c:v>
                </c:pt>
                <c:pt idx="23">
                  <c:v>2276</c:v>
                </c:pt>
                <c:pt idx="24">
                  <c:v>298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8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6.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5.8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87</c:v>
                </c:pt>
                <c:pt idx="1">
                  <c:v>17.52</c:v>
                </c:pt>
                <c:pt idx="2">
                  <c:v>19.27</c:v>
                </c:pt>
                <c:pt idx="3">
                  <c:v>16.34</c:v>
                </c:pt>
                <c:pt idx="4">
                  <c:v>17.19</c:v>
                </c:pt>
                <c:pt idx="5">
                  <c:v>17.19</c:v>
                </c:pt>
                <c:pt idx="6">
                  <c:v>19.66</c:v>
                </c:pt>
                <c:pt idx="7">
                  <c:v>18.66</c:v>
                </c:pt>
                <c:pt idx="8">
                  <c:v>19.9</c:v>
                </c:pt>
                <c:pt idx="9">
                  <c:v>18.3</c:v>
                </c:pt>
                <c:pt idx="10">
                  <c:v>17.28</c:v>
                </c:pt>
                <c:pt idx="11">
                  <c:v>18.13</c:v>
                </c:pt>
                <c:pt idx="12">
                  <c:v>18.39</c:v>
                </c:pt>
                <c:pt idx="13">
                  <c:v>16.05</c:v>
                </c:pt>
                <c:pt idx="14">
                  <c:v>18.89</c:v>
                </c:pt>
                <c:pt idx="15">
                  <c:v>17.43</c:v>
                </c:pt>
                <c:pt idx="16">
                  <c:v>17.32</c:v>
                </c:pt>
                <c:pt idx="17">
                  <c:v>17.45</c:v>
                </c:pt>
                <c:pt idx="18">
                  <c:v>18.79</c:v>
                </c:pt>
                <c:pt idx="19">
                  <c:v>17.87</c:v>
                </c:pt>
                <c:pt idx="20">
                  <c:v>19.45</c:v>
                </c:pt>
                <c:pt idx="21">
                  <c:v>16.99</c:v>
                </c:pt>
                <c:pt idx="22">
                  <c:v>17.75</c:v>
                </c:pt>
                <c:pt idx="23">
                  <c:v>17.64</c:v>
                </c:pt>
                <c:pt idx="24">
                  <c:v>15.8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20</c:v>
                </c:pt>
                <c:pt idx="1">
                  <c:v>2470</c:v>
                </c:pt>
                <c:pt idx="2">
                  <c:v>2250</c:v>
                </c:pt>
                <c:pt idx="3">
                  <c:v>1827</c:v>
                </c:pt>
                <c:pt idx="4">
                  <c:v>1490</c:v>
                </c:pt>
                <c:pt idx="5">
                  <c:v>1606</c:v>
                </c:pt>
                <c:pt idx="6">
                  <c:v>3949</c:v>
                </c:pt>
                <c:pt idx="7">
                  <c:v>1996</c:v>
                </c:pt>
                <c:pt idx="8">
                  <c:v>1563</c:v>
                </c:pt>
                <c:pt idx="9">
                  <c:v>1775</c:v>
                </c:pt>
                <c:pt idx="10">
                  <c:v>2156</c:v>
                </c:pt>
                <c:pt idx="11">
                  <c:v>2517</c:v>
                </c:pt>
                <c:pt idx="12">
                  <c:v>2069</c:v>
                </c:pt>
                <c:pt idx="13">
                  <c:v>1926</c:v>
                </c:pt>
                <c:pt idx="14">
                  <c:v>1297</c:v>
                </c:pt>
                <c:pt idx="15">
                  <c:v>1696</c:v>
                </c:pt>
                <c:pt idx="16">
                  <c:v>2706</c:v>
                </c:pt>
                <c:pt idx="17">
                  <c:v>1721</c:v>
                </c:pt>
                <c:pt idx="18">
                  <c:v>3473</c:v>
                </c:pt>
                <c:pt idx="19">
                  <c:v>1161</c:v>
                </c:pt>
                <c:pt idx="20">
                  <c:v>961</c:v>
                </c:pt>
                <c:pt idx="21">
                  <c:v>1769</c:v>
                </c:pt>
                <c:pt idx="22">
                  <c:v>2001</c:v>
                </c:pt>
                <c:pt idx="23">
                  <c:v>1942</c:v>
                </c:pt>
                <c:pt idx="24">
                  <c:v>14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9.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4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9.3</c:v>
                </c:pt>
                <c:pt idx="1">
                  <c:v>19.0</c:v>
                </c:pt>
                <c:pt idx="2">
                  <c:v>19.23</c:v>
                </c:pt>
                <c:pt idx="3">
                  <c:v>18.09</c:v>
                </c:pt>
                <c:pt idx="4">
                  <c:v>19.61</c:v>
                </c:pt>
                <c:pt idx="5">
                  <c:v>19.12</c:v>
                </c:pt>
                <c:pt idx="6">
                  <c:v>18.89</c:v>
                </c:pt>
                <c:pt idx="7">
                  <c:v>20.16</c:v>
                </c:pt>
                <c:pt idx="8">
                  <c:v>18.39</c:v>
                </c:pt>
                <c:pt idx="9">
                  <c:v>18.3</c:v>
                </c:pt>
                <c:pt idx="10">
                  <c:v>18.12</c:v>
                </c:pt>
                <c:pt idx="11">
                  <c:v>18.92</c:v>
                </c:pt>
                <c:pt idx="12">
                  <c:v>19.34</c:v>
                </c:pt>
                <c:pt idx="13">
                  <c:v>19.45</c:v>
                </c:pt>
                <c:pt idx="14">
                  <c:v>21.98</c:v>
                </c:pt>
                <c:pt idx="15">
                  <c:v>20.43</c:v>
                </c:pt>
                <c:pt idx="16">
                  <c:v>19.9</c:v>
                </c:pt>
                <c:pt idx="17">
                  <c:v>19.56</c:v>
                </c:pt>
                <c:pt idx="18">
                  <c:v>18.98</c:v>
                </c:pt>
                <c:pt idx="19">
                  <c:v>20.73</c:v>
                </c:pt>
                <c:pt idx="20">
                  <c:v>20.89</c:v>
                </c:pt>
                <c:pt idx="21">
                  <c:v>20.57</c:v>
                </c:pt>
                <c:pt idx="22">
                  <c:v>21.52</c:v>
                </c:pt>
                <c:pt idx="23">
                  <c:v>20.02</c:v>
                </c:pt>
                <c:pt idx="24">
                  <c:v>19.8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84</c:v>
                </c:pt>
                <c:pt idx="1">
                  <c:v>676</c:v>
                </c:pt>
                <c:pt idx="2">
                  <c:v>925</c:v>
                </c:pt>
                <c:pt idx="3">
                  <c:v>888</c:v>
                </c:pt>
                <c:pt idx="4">
                  <c:v>1004</c:v>
                </c:pt>
                <c:pt idx="5">
                  <c:v>1173</c:v>
                </c:pt>
                <c:pt idx="6">
                  <c:v>3486</c:v>
                </c:pt>
                <c:pt idx="7">
                  <c:v>2228</c:v>
                </c:pt>
                <c:pt idx="8">
                  <c:v>1607</c:v>
                </c:pt>
                <c:pt idx="9">
                  <c:v>1529</c:v>
                </c:pt>
                <c:pt idx="10">
                  <c:v>1160</c:v>
                </c:pt>
                <c:pt idx="11">
                  <c:v>1161</c:v>
                </c:pt>
                <c:pt idx="12">
                  <c:v>1172</c:v>
                </c:pt>
                <c:pt idx="13">
                  <c:v>838</c:v>
                </c:pt>
                <c:pt idx="14">
                  <c:v>772</c:v>
                </c:pt>
                <c:pt idx="15">
                  <c:v>703</c:v>
                </c:pt>
                <c:pt idx="16">
                  <c:v>1536</c:v>
                </c:pt>
                <c:pt idx="17">
                  <c:v>970</c:v>
                </c:pt>
                <c:pt idx="18">
                  <c:v>3507</c:v>
                </c:pt>
                <c:pt idx="19">
                  <c:v>1013</c:v>
                </c:pt>
                <c:pt idx="20">
                  <c:v>863</c:v>
                </c:pt>
                <c:pt idx="21">
                  <c:v>737</c:v>
                </c:pt>
                <c:pt idx="22">
                  <c:v>1312</c:v>
                </c:pt>
                <c:pt idx="23">
                  <c:v>957</c:v>
                </c:pt>
                <c:pt idx="24">
                  <c:v>7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2.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3.9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4.6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2.77</c:v>
                </c:pt>
                <c:pt idx="1">
                  <c:v>24.14</c:v>
                </c:pt>
                <c:pt idx="2">
                  <c:v>24.34</c:v>
                </c:pt>
                <c:pt idx="3">
                  <c:v>23.37</c:v>
                </c:pt>
                <c:pt idx="4">
                  <c:v>24.49</c:v>
                </c:pt>
                <c:pt idx="5">
                  <c:v>23.46</c:v>
                </c:pt>
                <c:pt idx="6">
                  <c:v>23.55</c:v>
                </c:pt>
                <c:pt idx="7">
                  <c:v>23.45</c:v>
                </c:pt>
                <c:pt idx="8">
                  <c:v>23.63</c:v>
                </c:pt>
                <c:pt idx="9">
                  <c:v>23.52</c:v>
                </c:pt>
                <c:pt idx="10">
                  <c:v>24.17</c:v>
                </c:pt>
                <c:pt idx="11">
                  <c:v>23.69</c:v>
                </c:pt>
                <c:pt idx="12">
                  <c:v>23.44</c:v>
                </c:pt>
                <c:pt idx="13">
                  <c:v>23.94</c:v>
                </c:pt>
                <c:pt idx="14">
                  <c:v>23.39</c:v>
                </c:pt>
                <c:pt idx="15">
                  <c:v>24.24</c:v>
                </c:pt>
                <c:pt idx="16">
                  <c:v>21.63</c:v>
                </c:pt>
                <c:pt idx="17">
                  <c:v>22.56</c:v>
                </c:pt>
                <c:pt idx="18">
                  <c:v>23.54</c:v>
                </c:pt>
                <c:pt idx="19">
                  <c:v>23.56</c:v>
                </c:pt>
                <c:pt idx="20">
                  <c:v>23.97</c:v>
                </c:pt>
                <c:pt idx="21">
                  <c:v>23.03</c:v>
                </c:pt>
                <c:pt idx="22">
                  <c:v>23.02</c:v>
                </c:pt>
                <c:pt idx="23">
                  <c:v>22.79</c:v>
                </c:pt>
                <c:pt idx="24">
                  <c:v>24.6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1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9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8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0189</c:v>
                </c:pt>
                <c:pt idx="1">
                  <c:v>73617</c:v>
                </c:pt>
                <c:pt idx="2">
                  <c:v>63449</c:v>
                </c:pt>
                <c:pt idx="3">
                  <c:v>62386</c:v>
                </c:pt>
                <c:pt idx="4">
                  <c:v>64972</c:v>
                </c:pt>
                <c:pt idx="5">
                  <c:v>116367</c:v>
                </c:pt>
                <c:pt idx="6">
                  <c:v>245584</c:v>
                </c:pt>
                <c:pt idx="7">
                  <c:v>96320</c:v>
                </c:pt>
                <c:pt idx="8">
                  <c:v>44697</c:v>
                </c:pt>
                <c:pt idx="9">
                  <c:v>58342</c:v>
                </c:pt>
                <c:pt idx="10">
                  <c:v>41561</c:v>
                </c:pt>
                <c:pt idx="11">
                  <c:v>69206</c:v>
                </c:pt>
                <c:pt idx="12">
                  <c:v>55494</c:v>
                </c:pt>
                <c:pt idx="13">
                  <c:v>59995</c:v>
                </c:pt>
                <c:pt idx="14">
                  <c:v>56781</c:v>
                </c:pt>
                <c:pt idx="15">
                  <c:v>51274</c:v>
                </c:pt>
                <c:pt idx="16">
                  <c:v>54446</c:v>
                </c:pt>
                <c:pt idx="17">
                  <c:v>66130</c:v>
                </c:pt>
                <c:pt idx="18">
                  <c:v>203353</c:v>
                </c:pt>
                <c:pt idx="19">
                  <c:v>50756</c:v>
                </c:pt>
                <c:pt idx="20">
                  <c:v>38894</c:v>
                </c:pt>
                <c:pt idx="21">
                  <c:v>45999</c:v>
                </c:pt>
                <c:pt idx="22">
                  <c:v>48544</c:v>
                </c:pt>
                <c:pt idx="23">
                  <c:v>58647</c:v>
                </c:pt>
                <c:pt idx="24">
                  <c:v>588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7.7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37.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2.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7.79</c:v>
                </c:pt>
                <c:pt idx="1">
                  <c:v>37.77</c:v>
                </c:pt>
                <c:pt idx="2">
                  <c:v>40.83</c:v>
                </c:pt>
                <c:pt idx="3">
                  <c:v>40.12</c:v>
                </c:pt>
                <c:pt idx="4">
                  <c:v>44.14</c:v>
                </c:pt>
                <c:pt idx="5">
                  <c:v>42.06</c:v>
                </c:pt>
                <c:pt idx="6">
                  <c:v>44.19</c:v>
                </c:pt>
                <c:pt idx="7">
                  <c:v>41.95</c:v>
                </c:pt>
                <c:pt idx="8">
                  <c:v>38.93</c:v>
                </c:pt>
                <c:pt idx="9">
                  <c:v>35.66</c:v>
                </c:pt>
                <c:pt idx="10">
                  <c:v>35.95</c:v>
                </c:pt>
                <c:pt idx="11">
                  <c:v>40.24</c:v>
                </c:pt>
                <c:pt idx="12">
                  <c:v>38.7</c:v>
                </c:pt>
                <c:pt idx="13">
                  <c:v>37.73</c:v>
                </c:pt>
                <c:pt idx="14">
                  <c:v>39.11</c:v>
                </c:pt>
                <c:pt idx="15">
                  <c:v>37.02</c:v>
                </c:pt>
                <c:pt idx="16">
                  <c:v>35.1</c:v>
                </c:pt>
                <c:pt idx="17">
                  <c:v>39.72</c:v>
                </c:pt>
                <c:pt idx="18">
                  <c:v>44.37</c:v>
                </c:pt>
                <c:pt idx="19">
                  <c:v>38.95</c:v>
                </c:pt>
                <c:pt idx="20">
                  <c:v>36.35</c:v>
                </c:pt>
                <c:pt idx="21">
                  <c:v>34.8</c:v>
                </c:pt>
                <c:pt idx="22">
                  <c:v>36.66</c:v>
                </c:pt>
                <c:pt idx="23">
                  <c:v>39.98</c:v>
                </c:pt>
                <c:pt idx="24">
                  <c:v>42.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85</c:v>
                </c:pt>
                <c:pt idx="1">
                  <c:v>525</c:v>
                </c:pt>
                <c:pt idx="2">
                  <c:v>680</c:v>
                </c:pt>
                <c:pt idx="3">
                  <c:v>611</c:v>
                </c:pt>
                <c:pt idx="4">
                  <c:v>763</c:v>
                </c:pt>
                <c:pt idx="5">
                  <c:v>432</c:v>
                </c:pt>
                <c:pt idx="6">
                  <c:v>1937</c:v>
                </c:pt>
                <c:pt idx="7">
                  <c:v>871</c:v>
                </c:pt>
                <c:pt idx="8">
                  <c:v>461</c:v>
                </c:pt>
                <c:pt idx="9">
                  <c:v>613</c:v>
                </c:pt>
                <c:pt idx="10">
                  <c:v>471</c:v>
                </c:pt>
                <c:pt idx="11">
                  <c:v>830</c:v>
                </c:pt>
                <c:pt idx="12">
                  <c:v>812</c:v>
                </c:pt>
                <c:pt idx="13">
                  <c:v>666</c:v>
                </c:pt>
                <c:pt idx="14">
                  <c:v>442</c:v>
                </c:pt>
                <c:pt idx="15">
                  <c:v>716</c:v>
                </c:pt>
                <c:pt idx="16">
                  <c:v>1018</c:v>
                </c:pt>
                <c:pt idx="17">
                  <c:v>1011</c:v>
                </c:pt>
                <c:pt idx="18">
                  <c:v>1669</c:v>
                </c:pt>
                <c:pt idx="19">
                  <c:v>559</c:v>
                </c:pt>
                <c:pt idx="20">
                  <c:v>517</c:v>
                </c:pt>
                <c:pt idx="21">
                  <c:v>832</c:v>
                </c:pt>
                <c:pt idx="22">
                  <c:v>770</c:v>
                </c:pt>
                <c:pt idx="23">
                  <c:v>815</c:v>
                </c:pt>
                <c:pt idx="24">
                  <c:v>60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1.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3.7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4.0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1.81</c:v>
                </c:pt>
                <c:pt idx="1">
                  <c:v>25.0</c:v>
                </c:pt>
                <c:pt idx="2">
                  <c:v>23.45</c:v>
                </c:pt>
                <c:pt idx="3">
                  <c:v>24.44</c:v>
                </c:pt>
                <c:pt idx="4">
                  <c:v>23.12</c:v>
                </c:pt>
                <c:pt idx="5">
                  <c:v>25.41</c:v>
                </c:pt>
                <c:pt idx="6">
                  <c:v>23.34</c:v>
                </c:pt>
                <c:pt idx="7">
                  <c:v>23.54</c:v>
                </c:pt>
                <c:pt idx="8">
                  <c:v>23.05</c:v>
                </c:pt>
                <c:pt idx="9">
                  <c:v>22.7</c:v>
                </c:pt>
                <c:pt idx="10">
                  <c:v>23.55</c:v>
                </c:pt>
                <c:pt idx="11">
                  <c:v>23.71</c:v>
                </c:pt>
                <c:pt idx="12">
                  <c:v>23.88</c:v>
                </c:pt>
                <c:pt idx="13">
                  <c:v>23.79</c:v>
                </c:pt>
                <c:pt idx="14">
                  <c:v>24.56</c:v>
                </c:pt>
                <c:pt idx="15">
                  <c:v>23.87</c:v>
                </c:pt>
                <c:pt idx="16">
                  <c:v>21.66</c:v>
                </c:pt>
                <c:pt idx="17">
                  <c:v>22.98</c:v>
                </c:pt>
                <c:pt idx="18">
                  <c:v>23.51</c:v>
                </c:pt>
                <c:pt idx="19">
                  <c:v>23.29</c:v>
                </c:pt>
                <c:pt idx="20">
                  <c:v>24.62</c:v>
                </c:pt>
                <c:pt idx="21">
                  <c:v>23.11</c:v>
                </c:pt>
                <c:pt idx="22">
                  <c:v>24.06</c:v>
                </c:pt>
                <c:pt idx="23">
                  <c:v>23.29</c:v>
                </c:pt>
                <c:pt idx="24">
                  <c:v>24.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58</c:v>
                </c:pt>
                <c:pt idx="1">
                  <c:v>465</c:v>
                </c:pt>
                <c:pt idx="2">
                  <c:v>384</c:v>
                </c:pt>
                <c:pt idx="3">
                  <c:v>420</c:v>
                </c:pt>
                <c:pt idx="4">
                  <c:v>724</c:v>
                </c:pt>
                <c:pt idx="5">
                  <c:v>499</c:v>
                </c:pt>
                <c:pt idx="6">
                  <c:v>1247</c:v>
                </c:pt>
                <c:pt idx="7">
                  <c:v>874</c:v>
                </c:pt>
                <c:pt idx="8">
                  <c:v>588</c:v>
                </c:pt>
                <c:pt idx="9">
                  <c:v>775</c:v>
                </c:pt>
                <c:pt idx="10">
                  <c:v>583</c:v>
                </c:pt>
                <c:pt idx="11">
                  <c:v>398</c:v>
                </c:pt>
                <c:pt idx="12">
                  <c:v>554</c:v>
                </c:pt>
                <c:pt idx="13">
                  <c:v>469</c:v>
                </c:pt>
                <c:pt idx="14">
                  <c:v>212</c:v>
                </c:pt>
                <c:pt idx="15">
                  <c:v>250</c:v>
                </c:pt>
                <c:pt idx="16">
                  <c:v>573</c:v>
                </c:pt>
                <c:pt idx="17">
                  <c:v>582</c:v>
                </c:pt>
                <c:pt idx="18">
                  <c:v>1001</c:v>
                </c:pt>
                <c:pt idx="19">
                  <c:v>309</c:v>
                </c:pt>
                <c:pt idx="20">
                  <c:v>324</c:v>
                </c:pt>
                <c:pt idx="21">
                  <c:v>209</c:v>
                </c:pt>
                <c:pt idx="22">
                  <c:v>337</c:v>
                </c:pt>
                <c:pt idx="23">
                  <c:v>252</c:v>
                </c:pt>
                <c:pt idx="24">
                  <c:v>4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2.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3.4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3.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2.38</c:v>
                </c:pt>
                <c:pt idx="1">
                  <c:v>23.25</c:v>
                </c:pt>
                <c:pt idx="2">
                  <c:v>25.6</c:v>
                </c:pt>
                <c:pt idx="3">
                  <c:v>24.71</c:v>
                </c:pt>
                <c:pt idx="4">
                  <c:v>22.62</c:v>
                </c:pt>
                <c:pt idx="5">
                  <c:v>23.76</c:v>
                </c:pt>
                <c:pt idx="6">
                  <c:v>23.09</c:v>
                </c:pt>
                <c:pt idx="7">
                  <c:v>23.62</c:v>
                </c:pt>
                <c:pt idx="8">
                  <c:v>24.5</c:v>
                </c:pt>
                <c:pt idx="9">
                  <c:v>24.22</c:v>
                </c:pt>
                <c:pt idx="10">
                  <c:v>23.32</c:v>
                </c:pt>
                <c:pt idx="11">
                  <c:v>24.88</c:v>
                </c:pt>
                <c:pt idx="12">
                  <c:v>24.09</c:v>
                </c:pt>
                <c:pt idx="13">
                  <c:v>23.45</c:v>
                </c:pt>
                <c:pt idx="14">
                  <c:v>23.56</c:v>
                </c:pt>
                <c:pt idx="15">
                  <c:v>25.0</c:v>
                </c:pt>
                <c:pt idx="16">
                  <c:v>21.22</c:v>
                </c:pt>
                <c:pt idx="17">
                  <c:v>22.38</c:v>
                </c:pt>
                <c:pt idx="18">
                  <c:v>23.28</c:v>
                </c:pt>
                <c:pt idx="19">
                  <c:v>23.77</c:v>
                </c:pt>
                <c:pt idx="20">
                  <c:v>24.92</c:v>
                </c:pt>
                <c:pt idx="21">
                  <c:v>23.22</c:v>
                </c:pt>
                <c:pt idx="22">
                  <c:v>24.07</c:v>
                </c:pt>
                <c:pt idx="23">
                  <c:v>25.2</c:v>
                </c:pt>
                <c:pt idx="24">
                  <c:v>23.7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30</c:v>
                </c:pt>
                <c:pt idx="1">
                  <c:v>307</c:v>
                </c:pt>
                <c:pt idx="2">
                  <c:v>187</c:v>
                </c:pt>
                <c:pt idx="3">
                  <c:v>114</c:v>
                </c:pt>
                <c:pt idx="4">
                  <c:v>98</c:v>
                </c:pt>
                <c:pt idx="5">
                  <c:v>286</c:v>
                </c:pt>
                <c:pt idx="6">
                  <c:v>763</c:v>
                </c:pt>
                <c:pt idx="7">
                  <c:v>358</c:v>
                </c:pt>
                <c:pt idx="8">
                  <c:v>66</c:v>
                </c:pt>
                <c:pt idx="9">
                  <c:v>788</c:v>
                </c:pt>
                <c:pt idx="10">
                  <c:v>198</c:v>
                </c:pt>
                <c:pt idx="11">
                  <c:v>229</c:v>
                </c:pt>
                <c:pt idx="12">
                  <c:v>436</c:v>
                </c:pt>
                <c:pt idx="13">
                  <c:v>338</c:v>
                </c:pt>
                <c:pt idx="14">
                  <c:v>384</c:v>
                </c:pt>
                <c:pt idx="15">
                  <c:v>297</c:v>
                </c:pt>
                <c:pt idx="16">
                  <c:v>195</c:v>
                </c:pt>
                <c:pt idx="17">
                  <c:v>382</c:v>
                </c:pt>
                <c:pt idx="18">
                  <c:v>568</c:v>
                </c:pt>
                <c:pt idx="19">
                  <c:v>178</c:v>
                </c:pt>
                <c:pt idx="20">
                  <c:v>184</c:v>
                </c:pt>
                <c:pt idx="21">
                  <c:v>156</c:v>
                </c:pt>
                <c:pt idx="22">
                  <c:v>214</c:v>
                </c:pt>
                <c:pt idx="23">
                  <c:v>338</c:v>
                </c:pt>
                <c:pt idx="24">
                  <c:v>41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5.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2.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1.8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5.38</c:v>
                </c:pt>
                <c:pt idx="1">
                  <c:v>23.62</c:v>
                </c:pt>
                <c:pt idx="2">
                  <c:v>20.78</c:v>
                </c:pt>
                <c:pt idx="3">
                  <c:v>28.5</c:v>
                </c:pt>
                <c:pt idx="4">
                  <c:v>24.5</c:v>
                </c:pt>
                <c:pt idx="5">
                  <c:v>26.0</c:v>
                </c:pt>
                <c:pt idx="6">
                  <c:v>24.61</c:v>
                </c:pt>
                <c:pt idx="7">
                  <c:v>25.57</c:v>
                </c:pt>
                <c:pt idx="8">
                  <c:v>22.0</c:v>
                </c:pt>
                <c:pt idx="9">
                  <c:v>23.18</c:v>
                </c:pt>
                <c:pt idx="10">
                  <c:v>22.0</c:v>
                </c:pt>
                <c:pt idx="11">
                  <c:v>25.44</c:v>
                </c:pt>
                <c:pt idx="12">
                  <c:v>24.22</c:v>
                </c:pt>
                <c:pt idx="13">
                  <c:v>22.53</c:v>
                </c:pt>
                <c:pt idx="14">
                  <c:v>24.0</c:v>
                </c:pt>
                <c:pt idx="15">
                  <c:v>22.85</c:v>
                </c:pt>
                <c:pt idx="16">
                  <c:v>21.67</c:v>
                </c:pt>
                <c:pt idx="17">
                  <c:v>23.88</c:v>
                </c:pt>
                <c:pt idx="18">
                  <c:v>23.67</c:v>
                </c:pt>
                <c:pt idx="19">
                  <c:v>19.78</c:v>
                </c:pt>
                <c:pt idx="20">
                  <c:v>26.29</c:v>
                </c:pt>
                <c:pt idx="21">
                  <c:v>22.29</c:v>
                </c:pt>
                <c:pt idx="22">
                  <c:v>23.78</c:v>
                </c:pt>
                <c:pt idx="23">
                  <c:v>24.14</c:v>
                </c:pt>
                <c:pt idx="24">
                  <c:v>21.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63,0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25,1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930,358</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863032</c:v>
                </c:pt>
                <c:pt idx="1">
                  <c:v>846300</c:v>
                </c:pt>
                <c:pt idx="2">
                  <c:v>868551</c:v>
                </c:pt>
                <c:pt idx="3">
                  <c:v>838399</c:v>
                </c:pt>
                <c:pt idx="4">
                  <c:v>871675</c:v>
                </c:pt>
                <c:pt idx="5">
                  <c:v>861203</c:v>
                </c:pt>
                <c:pt idx="6">
                  <c:v>805508</c:v>
                </c:pt>
                <c:pt idx="7">
                  <c:v>876243</c:v>
                </c:pt>
                <c:pt idx="8">
                  <c:v>844192</c:v>
                </c:pt>
                <c:pt idx="9">
                  <c:v>862514</c:v>
                </c:pt>
                <c:pt idx="10">
                  <c:v>836308</c:v>
                </c:pt>
                <c:pt idx="11">
                  <c:v>914688</c:v>
                </c:pt>
                <c:pt idx="12">
                  <c:v>954976</c:v>
                </c:pt>
                <c:pt idx="13">
                  <c:v>925129</c:v>
                </c:pt>
                <c:pt idx="14">
                  <c:v>957243</c:v>
                </c:pt>
                <c:pt idx="15">
                  <c:v>925449</c:v>
                </c:pt>
                <c:pt idx="16">
                  <c:v>957597</c:v>
                </c:pt>
                <c:pt idx="17">
                  <c:v>955886</c:v>
                </c:pt>
                <c:pt idx="18">
                  <c:v>861611</c:v>
                </c:pt>
                <c:pt idx="19">
                  <c:v>953615</c:v>
                </c:pt>
                <c:pt idx="20">
                  <c:v>922780</c:v>
                </c:pt>
                <c:pt idx="21">
                  <c:v>955033</c:v>
                </c:pt>
                <c:pt idx="22">
                  <c:v>9303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7.57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7.65</c:v>
                </c:pt>
                <c:pt idx="1">
                  <c:v>7.67</c:v>
                </c:pt>
                <c:pt idx="2">
                  <c:v>7.67</c:v>
                </c:pt>
                <c:pt idx="3">
                  <c:v>7.66</c:v>
                </c:pt>
                <c:pt idx="4">
                  <c:v>7.68</c:v>
                </c:pt>
                <c:pt idx="5">
                  <c:v>7.64</c:v>
                </c:pt>
                <c:pt idx="6">
                  <c:v>7.64</c:v>
                </c:pt>
                <c:pt idx="7">
                  <c:v>7.69</c:v>
                </c:pt>
                <c:pt idx="8">
                  <c:v>7.68</c:v>
                </c:pt>
                <c:pt idx="9">
                  <c:v>7.65</c:v>
                </c:pt>
                <c:pt idx="10">
                  <c:v>7.66</c:v>
                </c:pt>
                <c:pt idx="11">
                  <c:v>7.6</c:v>
                </c:pt>
                <c:pt idx="12">
                  <c:v>7.55</c:v>
                </c:pt>
                <c:pt idx="13">
                  <c:v>7.55</c:v>
                </c:pt>
                <c:pt idx="14">
                  <c:v>7.56</c:v>
                </c:pt>
                <c:pt idx="15">
                  <c:v>7.55</c:v>
                </c:pt>
                <c:pt idx="16">
                  <c:v>7.56</c:v>
                </c:pt>
                <c:pt idx="17">
                  <c:v>7.55</c:v>
                </c:pt>
                <c:pt idx="18">
                  <c:v>7.54</c:v>
                </c:pt>
                <c:pt idx="19">
                  <c:v>7.54</c:v>
                </c:pt>
                <c:pt idx="20">
                  <c:v>7.54</c:v>
                </c:pt>
                <c:pt idx="21">
                  <c:v>7.55</c:v>
                </c:pt>
                <c:pt idx="22">
                  <c:v>7.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9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6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0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8932</c:v>
                </c:pt>
                <c:pt idx="1">
                  <c:v>13125</c:v>
                </c:pt>
                <c:pt idx="2">
                  <c:v>10261</c:v>
                </c:pt>
                <c:pt idx="3">
                  <c:v>21077</c:v>
                </c:pt>
                <c:pt idx="4">
                  <c:v>15816</c:v>
                </c:pt>
                <c:pt idx="5">
                  <c:v>13508</c:v>
                </c:pt>
                <c:pt idx="6">
                  <c:v>19204</c:v>
                </c:pt>
                <c:pt idx="7">
                  <c:v>8430</c:v>
                </c:pt>
                <c:pt idx="8">
                  <c:v>7760</c:v>
                </c:pt>
                <c:pt idx="9">
                  <c:v>23550</c:v>
                </c:pt>
                <c:pt idx="10">
                  <c:v>18977</c:v>
                </c:pt>
                <c:pt idx="11">
                  <c:v>9747</c:v>
                </c:pt>
                <c:pt idx="12">
                  <c:v>11050</c:v>
                </c:pt>
                <c:pt idx="13">
                  <c:v>8662</c:v>
                </c:pt>
                <c:pt idx="14">
                  <c:v>5038</c:v>
                </c:pt>
                <c:pt idx="15">
                  <c:v>5834</c:v>
                </c:pt>
                <c:pt idx="16">
                  <c:v>7302</c:v>
                </c:pt>
                <c:pt idx="17">
                  <c:v>6153</c:v>
                </c:pt>
                <c:pt idx="18">
                  <c:v>7604</c:v>
                </c:pt>
                <c:pt idx="19">
                  <c:v>5900</c:v>
                </c:pt>
                <c:pt idx="20">
                  <c:v>3539</c:v>
                </c:pt>
                <c:pt idx="21">
                  <c:v>3637</c:v>
                </c:pt>
                <c:pt idx="22">
                  <c:v>3446</c:v>
                </c:pt>
                <c:pt idx="23">
                  <c:v>5055</c:v>
                </c:pt>
                <c:pt idx="24">
                  <c:v>1103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38</c:v>
                </c:pt>
                <c:pt idx="1">
                  <c:v>13.23</c:v>
                </c:pt>
                <c:pt idx="2">
                  <c:v>13.34</c:v>
                </c:pt>
                <c:pt idx="3">
                  <c:v>11.12</c:v>
                </c:pt>
                <c:pt idx="4">
                  <c:v>13.08</c:v>
                </c:pt>
                <c:pt idx="5">
                  <c:v>13.36</c:v>
                </c:pt>
                <c:pt idx="6">
                  <c:v>13.07</c:v>
                </c:pt>
                <c:pt idx="7">
                  <c:v>13.91</c:v>
                </c:pt>
                <c:pt idx="8">
                  <c:v>13.29</c:v>
                </c:pt>
                <c:pt idx="9">
                  <c:v>11.99</c:v>
                </c:pt>
                <c:pt idx="10">
                  <c:v>12.71</c:v>
                </c:pt>
                <c:pt idx="11">
                  <c:v>14.38</c:v>
                </c:pt>
                <c:pt idx="12">
                  <c:v>14.2</c:v>
                </c:pt>
                <c:pt idx="13">
                  <c:v>14.48</c:v>
                </c:pt>
                <c:pt idx="14">
                  <c:v>14.52</c:v>
                </c:pt>
                <c:pt idx="15">
                  <c:v>14.58</c:v>
                </c:pt>
                <c:pt idx="16">
                  <c:v>14.63</c:v>
                </c:pt>
                <c:pt idx="17">
                  <c:v>14.72</c:v>
                </c:pt>
                <c:pt idx="18">
                  <c:v>14.68</c:v>
                </c:pt>
                <c:pt idx="19">
                  <c:v>14.22</c:v>
                </c:pt>
                <c:pt idx="20">
                  <c:v>14.27</c:v>
                </c:pt>
                <c:pt idx="21">
                  <c:v>14.04</c:v>
                </c:pt>
                <c:pt idx="22">
                  <c:v>14.48</c:v>
                </c:pt>
                <c:pt idx="23">
                  <c:v>14.48</c:v>
                </c:pt>
                <c:pt idx="24">
                  <c:v>12.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52,7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19,3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919,307</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852799</c:v>
                </c:pt>
                <c:pt idx="1">
                  <c:v>825290</c:v>
                </c:pt>
                <c:pt idx="2">
                  <c:v>852799</c:v>
                </c:pt>
                <c:pt idx="3">
                  <c:v>825290</c:v>
                </c:pt>
                <c:pt idx="4">
                  <c:v>852799</c:v>
                </c:pt>
                <c:pt idx="5">
                  <c:v>852799</c:v>
                </c:pt>
                <c:pt idx="6">
                  <c:v>797783</c:v>
                </c:pt>
                <c:pt idx="7">
                  <c:v>852799</c:v>
                </c:pt>
                <c:pt idx="8">
                  <c:v>825290</c:v>
                </c:pt>
                <c:pt idx="9">
                  <c:v>852799</c:v>
                </c:pt>
                <c:pt idx="10">
                  <c:v>825290</c:v>
                </c:pt>
                <c:pt idx="11">
                  <c:v>906080</c:v>
                </c:pt>
                <c:pt idx="12">
                  <c:v>949952</c:v>
                </c:pt>
                <c:pt idx="13">
                  <c:v>919307</c:v>
                </c:pt>
                <c:pt idx="14">
                  <c:v>949952</c:v>
                </c:pt>
                <c:pt idx="15">
                  <c:v>919307</c:v>
                </c:pt>
                <c:pt idx="16">
                  <c:v>949952</c:v>
                </c:pt>
                <c:pt idx="17">
                  <c:v>949952</c:v>
                </c:pt>
                <c:pt idx="18">
                  <c:v>858044</c:v>
                </c:pt>
                <c:pt idx="19">
                  <c:v>949952</c:v>
                </c:pt>
                <c:pt idx="20">
                  <c:v>919307</c:v>
                </c:pt>
                <c:pt idx="21">
                  <c:v>949952</c:v>
                </c:pt>
                <c:pt idx="22">
                  <c:v>91930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7.53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7.61</c:v>
                </c:pt>
                <c:pt idx="1">
                  <c:v>7.61</c:v>
                </c:pt>
                <c:pt idx="2">
                  <c:v>7.61</c:v>
                </c:pt>
                <c:pt idx="3">
                  <c:v>7.61</c:v>
                </c:pt>
                <c:pt idx="4">
                  <c:v>7.61</c:v>
                </c:pt>
                <c:pt idx="5">
                  <c:v>7.61</c:v>
                </c:pt>
                <c:pt idx="6">
                  <c:v>7.61</c:v>
                </c:pt>
                <c:pt idx="7">
                  <c:v>7.61</c:v>
                </c:pt>
                <c:pt idx="8">
                  <c:v>7.61</c:v>
                </c:pt>
                <c:pt idx="9">
                  <c:v>7.61</c:v>
                </c:pt>
                <c:pt idx="10">
                  <c:v>7.61</c:v>
                </c:pt>
                <c:pt idx="11">
                  <c:v>7.56</c:v>
                </c:pt>
                <c:pt idx="12">
                  <c:v>7.53</c:v>
                </c:pt>
                <c:pt idx="13">
                  <c:v>7.53</c:v>
                </c:pt>
                <c:pt idx="14">
                  <c:v>7.53</c:v>
                </c:pt>
                <c:pt idx="15">
                  <c:v>7.53</c:v>
                </c:pt>
                <c:pt idx="16">
                  <c:v>7.53</c:v>
                </c:pt>
                <c:pt idx="17">
                  <c:v>7.53</c:v>
                </c:pt>
                <c:pt idx="18">
                  <c:v>7.53</c:v>
                </c:pt>
                <c:pt idx="19">
                  <c:v>7.53</c:v>
                </c:pt>
                <c:pt idx="20">
                  <c:v>7.53</c:v>
                </c:pt>
                <c:pt idx="21">
                  <c:v>7.53</c:v>
                </c:pt>
                <c:pt idx="22">
                  <c:v>7.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069</c:v>
                </c:pt>
                <c:pt idx="1">
                  <c:v>1053</c:v>
                </c:pt>
                <c:pt idx="2">
                  <c:v>906</c:v>
                </c:pt>
                <c:pt idx="3">
                  <c:v>1524</c:v>
                </c:pt>
                <c:pt idx="4">
                  <c:v>971</c:v>
                </c:pt>
                <c:pt idx="5">
                  <c:v>969</c:v>
                </c:pt>
                <c:pt idx="6">
                  <c:v>846</c:v>
                </c:pt>
                <c:pt idx="7">
                  <c:v>222</c:v>
                </c:pt>
                <c:pt idx="8">
                  <c:v>515</c:v>
                </c:pt>
                <c:pt idx="9">
                  <c:v>898</c:v>
                </c:pt>
                <c:pt idx="10">
                  <c:v>679</c:v>
                </c:pt>
                <c:pt idx="11">
                  <c:v>471</c:v>
                </c:pt>
                <c:pt idx="12">
                  <c:v>528</c:v>
                </c:pt>
                <c:pt idx="13">
                  <c:v>323</c:v>
                </c:pt>
                <c:pt idx="14">
                  <c:v>258</c:v>
                </c:pt>
                <c:pt idx="15">
                  <c:v>289</c:v>
                </c:pt>
                <c:pt idx="16">
                  <c:v>237</c:v>
                </c:pt>
                <c:pt idx="17">
                  <c:v>156</c:v>
                </c:pt>
                <c:pt idx="18">
                  <c:v>337</c:v>
                </c:pt>
                <c:pt idx="19">
                  <c:v>354</c:v>
                </c:pt>
                <c:pt idx="20">
                  <c:v>181</c:v>
                </c:pt>
                <c:pt idx="21">
                  <c:v>30</c:v>
                </c:pt>
                <c:pt idx="22">
                  <c:v>106</c:v>
                </c:pt>
                <c:pt idx="23">
                  <c:v>143</c:v>
                </c:pt>
                <c:pt idx="24">
                  <c:v>3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5.3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73</c:v>
                </c:pt>
                <c:pt idx="1">
                  <c:v>13.33</c:v>
                </c:pt>
                <c:pt idx="2">
                  <c:v>13.52</c:v>
                </c:pt>
                <c:pt idx="3">
                  <c:v>11.21</c:v>
                </c:pt>
                <c:pt idx="4">
                  <c:v>13.3</c:v>
                </c:pt>
                <c:pt idx="5">
                  <c:v>13.46</c:v>
                </c:pt>
                <c:pt idx="6">
                  <c:v>13.43</c:v>
                </c:pt>
                <c:pt idx="7">
                  <c:v>13.06</c:v>
                </c:pt>
                <c:pt idx="8">
                  <c:v>13.21</c:v>
                </c:pt>
                <c:pt idx="9">
                  <c:v>11.97</c:v>
                </c:pt>
                <c:pt idx="10">
                  <c:v>12.12</c:v>
                </c:pt>
                <c:pt idx="11">
                  <c:v>14.27</c:v>
                </c:pt>
                <c:pt idx="12">
                  <c:v>14.27</c:v>
                </c:pt>
                <c:pt idx="13">
                  <c:v>15.38</c:v>
                </c:pt>
                <c:pt idx="14">
                  <c:v>14.33</c:v>
                </c:pt>
                <c:pt idx="15">
                  <c:v>13.76</c:v>
                </c:pt>
                <c:pt idx="16">
                  <c:v>15.8</c:v>
                </c:pt>
                <c:pt idx="17">
                  <c:v>14.18</c:v>
                </c:pt>
                <c:pt idx="18">
                  <c:v>14.04</c:v>
                </c:pt>
                <c:pt idx="19">
                  <c:v>14.75</c:v>
                </c:pt>
                <c:pt idx="20">
                  <c:v>13.92</c:v>
                </c:pt>
                <c:pt idx="21">
                  <c:v>15.0</c:v>
                </c:pt>
                <c:pt idx="22">
                  <c:v>15.14</c:v>
                </c:pt>
                <c:pt idx="23">
                  <c:v>14.3</c:v>
                </c:pt>
                <c:pt idx="24">
                  <c:v>1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455</c:v>
                </c:pt>
                <c:pt idx="1">
                  <c:v>677</c:v>
                </c:pt>
                <c:pt idx="2">
                  <c:v>1075</c:v>
                </c:pt>
                <c:pt idx="3">
                  <c:v>634</c:v>
                </c:pt>
                <c:pt idx="4">
                  <c:v>509</c:v>
                </c:pt>
                <c:pt idx="5">
                  <c:v>427</c:v>
                </c:pt>
                <c:pt idx="6">
                  <c:v>1004</c:v>
                </c:pt>
                <c:pt idx="7">
                  <c:v>230</c:v>
                </c:pt>
                <c:pt idx="8">
                  <c:v>157</c:v>
                </c:pt>
                <c:pt idx="9">
                  <c:v>469</c:v>
                </c:pt>
                <c:pt idx="10">
                  <c:v>489</c:v>
                </c:pt>
                <c:pt idx="11">
                  <c:v>355</c:v>
                </c:pt>
                <c:pt idx="12">
                  <c:v>289</c:v>
                </c:pt>
                <c:pt idx="13">
                  <c:v>316</c:v>
                </c:pt>
                <c:pt idx="14">
                  <c:v>227</c:v>
                </c:pt>
                <c:pt idx="15">
                  <c:v>190</c:v>
                </c:pt>
                <c:pt idx="16">
                  <c:v>233</c:v>
                </c:pt>
                <c:pt idx="17">
                  <c:v>204</c:v>
                </c:pt>
                <c:pt idx="18">
                  <c:v>142</c:v>
                </c:pt>
                <c:pt idx="19">
                  <c:v>127</c:v>
                </c:pt>
                <c:pt idx="20">
                  <c:v>53</c:v>
                </c:pt>
                <c:pt idx="21">
                  <c:v>166</c:v>
                </c:pt>
                <c:pt idx="22">
                  <c:v>35</c:v>
                </c:pt>
                <c:pt idx="23">
                  <c:v>331</c:v>
                </c:pt>
                <c:pt idx="24">
                  <c:v>4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2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64</c:v>
                </c:pt>
                <c:pt idx="1">
                  <c:v>13.27</c:v>
                </c:pt>
                <c:pt idx="2">
                  <c:v>13.44</c:v>
                </c:pt>
                <c:pt idx="3">
                  <c:v>11.32</c:v>
                </c:pt>
                <c:pt idx="4">
                  <c:v>13.39</c:v>
                </c:pt>
                <c:pt idx="5">
                  <c:v>14.23</c:v>
                </c:pt>
                <c:pt idx="6">
                  <c:v>13.04</c:v>
                </c:pt>
                <c:pt idx="7">
                  <c:v>14.38</c:v>
                </c:pt>
                <c:pt idx="8">
                  <c:v>12.08</c:v>
                </c:pt>
                <c:pt idx="9">
                  <c:v>12.03</c:v>
                </c:pt>
                <c:pt idx="10">
                  <c:v>12.87</c:v>
                </c:pt>
                <c:pt idx="11">
                  <c:v>14.79</c:v>
                </c:pt>
                <c:pt idx="12">
                  <c:v>13.14</c:v>
                </c:pt>
                <c:pt idx="13">
                  <c:v>13.74</c:v>
                </c:pt>
                <c:pt idx="14">
                  <c:v>14.19</c:v>
                </c:pt>
                <c:pt idx="15">
                  <c:v>14.62</c:v>
                </c:pt>
                <c:pt idx="16">
                  <c:v>14.56</c:v>
                </c:pt>
                <c:pt idx="17">
                  <c:v>15.69</c:v>
                </c:pt>
                <c:pt idx="18">
                  <c:v>14.2</c:v>
                </c:pt>
                <c:pt idx="19">
                  <c:v>11.55</c:v>
                </c:pt>
                <c:pt idx="20">
                  <c:v>10.6</c:v>
                </c:pt>
                <c:pt idx="21">
                  <c:v>11.07</c:v>
                </c:pt>
                <c:pt idx="22">
                  <c:v>8.75</c:v>
                </c:pt>
                <c:pt idx="23">
                  <c:v>15.76</c:v>
                </c:pt>
                <c:pt idx="24">
                  <c:v>12.2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15</c:v>
                </c:pt>
                <c:pt idx="1">
                  <c:v>177</c:v>
                </c:pt>
                <c:pt idx="2">
                  <c:v>85</c:v>
                </c:pt>
                <c:pt idx="3">
                  <c:v>231</c:v>
                </c:pt>
                <c:pt idx="4">
                  <c:v>195</c:v>
                </c:pt>
                <c:pt idx="5">
                  <c:v>89</c:v>
                </c:pt>
                <c:pt idx="6">
                  <c:v>243</c:v>
                </c:pt>
                <c:pt idx="7">
                  <c:v>74</c:v>
                </c:pt>
                <c:pt idx="8">
                  <c:v>106</c:v>
                </c:pt>
                <c:pt idx="9">
                  <c:v>365</c:v>
                </c:pt>
                <c:pt idx="10">
                  <c:v>463</c:v>
                </c:pt>
                <c:pt idx="11">
                  <c:v>47</c:v>
                </c:pt>
                <c:pt idx="12">
                  <c:v>116</c:v>
                </c:pt>
                <c:pt idx="13">
                  <c:v>73</c:v>
                </c:pt>
                <c:pt idx="14">
                  <c:v>38</c:v>
                </c:pt>
                <c:pt idx="15">
                  <c:v>149</c:v>
                </c:pt>
                <c:pt idx="16">
                  <c:v>72</c:v>
                </c:pt>
                <c:pt idx="17">
                  <c:v>85</c:v>
                </c:pt>
                <c:pt idx="18">
                  <c:v>36</c:v>
                </c:pt>
                <c:pt idx="19">
                  <c:v>50</c:v>
                </c:pt>
                <c:pt idx="20">
                  <c:v>7</c:v>
                </c:pt>
                <c:pt idx="21">
                  <c:v>26</c:v>
                </c:pt>
                <c:pt idx="22">
                  <c:v>55</c:v>
                </c:pt>
                <c:pt idx="23">
                  <c:v>26</c:v>
                </c:pt>
                <c:pt idx="24">
                  <c:v>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4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3.44</c:v>
                </c:pt>
                <c:pt idx="1">
                  <c:v>14.75</c:v>
                </c:pt>
                <c:pt idx="2">
                  <c:v>10.62</c:v>
                </c:pt>
                <c:pt idx="3">
                  <c:v>11.0</c:v>
                </c:pt>
                <c:pt idx="4">
                  <c:v>13.0</c:v>
                </c:pt>
                <c:pt idx="5">
                  <c:v>12.71</c:v>
                </c:pt>
                <c:pt idx="6">
                  <c:v>12.15</c:v>
                </c:pt>
                <c:pt idx="7">
                  <c:v>12.33</c:v>
                </c:pt>
                <c:pt idx="8">
                  <c:v>13.25</c:v>
                </c:pt>
                <c:pt idx="9">
                  <c:v>12.17</c:v>
                </c:pt>
                <c:pt idx="10">
                  <c:v>11.87</c:v>
                </c:pt>
                <c:pt idx="11">
                  <c:v>15.67</c:v>
                </c:pt>
                <c:pt idx="12">
                  <c:v>11.6</c:v>
                </c:pt>
                <c:pt idx="13">
                  <c:v>10.43</c:v>
                </c:pt>
                <c:pt idx="14">
                  <c:v>19.0</c:v>
                </c:pt>
                <c:pt idx="15">
                  <c:v>13.55</c:v>
                </c:pt>
                <c:pt idx="16">
                  <c:v>14.4</c:v>
                </c:pt>
                <c:pt idx="17">
                  <c:v>17.0</c:v>
                </c:pt>
                <c:pt idx="18">
                  <c:v>12.0</c:v>
                </c:pt>
                <c:pt idx="19">
                  <c:v>12.5</c:v>
                </c:pt>
                <c:pt idx="20">
                  <c:v>0.0</c:v>
                </c:pt>
                <c:pt idx="21">
                  <c:v>13.0</c:v>
                </c:pt>
                <c:pt idx="22">
                  <c:v>13.75</c:v>
                </c:pt>
                <c:pt idx="23">
                  <c:v>13.0</c:v>
                </c:pt>
                <c:pt idx="24">
                  <c:v>1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025</c:v>
                </c:pt>
                <c:pt idx="1">
                  <c:v>829</c:v>
                </c:pt>
                <c:pt idx="2">
                  <c:v>941</c:v>
                </c:pt>
                <c:pt idx="3">
                  <c:v>1126</c:v>
                </c:pt>
                <c:pt idx="4">
                  <c:v>765</c:v>
                </c:pt>
                <c:pt idx="5">
                  <c:v>466</c:v>
                </c:pt>
                <c:pt idx="6">
                  <c:v>1415</c:v>
                </c:pt>
                <c:pt idx="7">
                  <c:v>568</c:v>
                </c:pt>
                <c:pt idx="8">
                  <c:v>481</c:v>
                </c:pt>
                <c:pt idx="9">
                  <c:v>1349</c:v>
                </c:pt>
                <c:pt idx="10">
                  <c:v>1179</c:v>
                </c:pt>
                <c:pt idx="11">
                  <c:v>747</c:v>
                </c:pt>
                <c:pt idx="12">
                  <c:v>675</c:v>
                </c:pt>
                <c:pt idx="13">
                  <c:v>571</c:v>
                </c:pt>
                <c:pt idx="14">
                  <c:v>566</c:v>
                </c:pt>
                <c:pt idx="15">
                  <c:v>413</c:v>
                </c:pt>
                <c:pt idx="16">
                  <c:v>320</c:v>
                </c:pt>
                <c:pt idx="17">
                  <c:v>444</c:v>
                </c:pt>
                <c:pt idx="18">
                  <c:v>588</c:v>
                </c:pt>
                <c:pt idx="19">
                  <c:v>342</c:v>
                </c:pt>
                <c:pt idx="20">
                  <c:v>343</c:v>
                </c:pt>
                <c:pt idx="21">
                  <c:v>225</c:v>
                </c:pt>
                <c:pt idx="22">
                  <c:v>452</c:v>
                </c:pt>
                <c:pt idx="23">
                  <c:v>311</c:v>
                </c:pt>
                <c:pt idx="24">
                  <c:v>99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6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65</c:v>
                </c:pt>
                <c:pt idx="1">
                  <c:v>13.16</c:v>
                </c:pt>
                <c:pt idx="2">
                  <c:v>13.44</c:v>
                </c:pt>
                <c:pt idx="3">
                  <c:v>11.49</c:v>
                </c:pt>
                <c:pt idx="4">
                  <c:v>13.42</c:v>
                </c:pt>
                <c:pt idx="5">
                  <c:v>13.71</c:v>
                </c:pt>
                <c:pt idx="6">
                  <c:v>12.98</c:v>
                </c:pt>
                <c:pt idx="7">
                  <c:v>14.2</c:v>
                </c:pt>
                <c:pt idx="8">
                  <c:v>13.36</c:v>
                </c:pt>
                <c:pt idx="9">
                  <c:v>11.83</c:v>
                </c:pt>
                <c:pt idx="10">
                  <c:v>12.28</c:v>
                </c:pt>
                <c:pt idx="11">
                  <c:v>14.37</c:v>
                </c:pt>
                <c:pt idx="12">
                  <c:v>14.06</c:v>
                </c:pt>
                <c:pt idx="13">
                  <c:v>13.6</c:v>
                </c:pt>
                <c:pt idx="14">
                  <c:v>14.51</c:v>
                </c:pt>
                <c:pt idx="15">
                  <c:v>14.75</c:v>
                </c:pt>
                <c:pt idx="16">
                  <c:v>14.55</c:v>
                </c:pt>
                <c:pt idx="17">
                  <c:v>14.32</c:v>
                </c:pt>
                <c:pt idx="18">
                  <c:v>14.34</c:v>
                </c:pt>
                <c:pt idx="19">
                  <c:v>14.87</c:v>
                </c:pt>
                <c:pt idx="20">
                  <c:v>13.19</c:v>
                </c:pt>
                <c:pt idx="21">
                  <c:v>13.24</c:v>
                </c:pt>
                <c:pt idx="22">
                  <c:v>15.07</c:v>
                </c:pt>
                <c:pt idx="23">
                  <c:v>14.81</c:v>
                </c:pt>
                <c:pt idx="24">
                  <c:v>12.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784</c:v>
                </c:pt>
                <c:pt idx="1">
                  <c:v>514</c:v>
                </c:pt>
                <c:pt idx="2">
                  <c:v>648</c:v>
                </c:pt>
                <c:pt idx="3">
                  <c:v>1168</c:v>
                </c:pt>
                <c:pt idx="4">
                  <c:v>543</c:v>
                </c:pt>
                <c:pt idx="5">
                  <c:v>635</c:v>
                </c:pt>
                <c:pt idx="6">
                  <c:v>991</c:v>
                </c:pt>
                <c:pt idx="7">
                  <c:v>316</c:v>
                </c:pt>
                <c:pt idx="8">
                  <c:v>324</c:v>
                </c:pt>
                <c:pt idx="9">
                  <c:v>1102</c:v>
                </c:pt>
                <c:pt idx="10">
                  <c:v>674</c:v>
                </c:pt>
                <c:pt idx="11">
                  <c:v>401</c:v>
                </c:pt>
                <c:pt idx="12">
                  <c:v>544</c:v>
                </c:pt>
                <c:pt idx="13">
                  <c:v>304</c:v>
                </c:pt>
                <c:pt idx="14">
                  <c:v>309</c:v>
                </c:pt>
                <c:pt idx="15">
                  <c:v>396</c:v>
                </c:pt>
                <c:pt idx="16">
                  <c:v>381</c:v>
                </c:pt>
                <c:pt idx="17">
                  <c:v>345</c:v>
                </c:pt>
                <c:pt idx="18">
                  <c:v>271</c:v>
                </c:pt>
                <c:pt idx="19">
                  <c:v>249</c:v>
                </c:pt>
                <c:pt idx="20">
                  <c:v>108</c:v>
                </c:pt>
                <c:pt idx="21">
                  <c:v>51</c:v>
                </c:pt>
                <c:pt idx="22">
                  <c:v>97</c:v>
                </c:pt>
                <c:pt idx="23">
                  <c:v>189</c:v>
                </c:pt>
                <c:pt idx="24">
                  <c:v>1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2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3.0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65</c:v>
                </c:pt>
                <c:pt idx="1">
                  <c:v>13.53</c:v>
                </c:pt>
                <c:pt idx="2">
                  <c:v>13.79</c:v>
                </c:pt>
                <c:pt idx="3">
                  <c:v>11.34</c:v>
                </c:pt>
                <c:pt idx="4">
                  <c:v>13.24</c:v>
                </c:pt>
                <c:pt idx="5">
                  <c:v>13.23</c:v>
                </c:pt>
                <c:pt idx="6">
                  <c:v>13.04</c:v>
                </c:pt>
                <c:pt idx="7">
                  <c:v>13.74</c:v>
                </c:pt>
                <c:pt idx="8">
                  <c:v>12.96</c:v>
                </c:pt>
                <c:pt idx="9">
                  <c:v>12.24</c:v>
                </c:pt>
                <c:pt idx="10">
                  <c:v>12.25</c:v>
                </c:pt>
                <c:pt idx="11">
                  <c:v>14.85</c:v>
                </c:pt>
                <c:pt idx="12">
                  <c:v>14.7</c:v>
                </c:pt>
                <c:pt idx="13">
                  <c:v>13.22</c:v>
                </c:pt>
                <c:pt idx="14">
                  <c:v>14.05</c:v>
                </c:pt>
                <c:pt idx="15">
                  <c:v>14.14</c:v>
                </c:pt>
                <c:pt idx="16">
                  <c:v>14.11</c:v>
                </c:pt>
                <c:pt idx="17">
                  <c:v>15.0</c:v>
                </c:pt>
                <c:pt idx="18">
                  <c:v>13.55</c:v>
                </c:pt>
                <c:pt idx="19">
                  <c:v>13.83</c:v>
                </c:pt>
                <c:pt idx="20">
                  <c:v>13.5</c:v>
                </c:pt>
                <c:pt idx="21">
                  <c:v>17.0</c:v>
                </c:pt>
                <c:pt idx="22">
                  <c:v>13.86</c:v>
                </c:pt>
                <c:pt idx="23">
                  <c:v>15.75</c:v>
                </c:pt>
                <c:pt idx="24">
                  <c:v>13.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432</c:v>
                </c:pt>
                <c:pt idx="1">
                  <c:v>2972</c:v>
                </c:pt>
                <c:pt idx="2">
                  <c:v>2373</c:v>
                </c:pt>
                <c:pt idx="3">
                  <c:v>4527</c:v>
                </c:pt>
                <c:pt idx="4">
                  <c:v>4119</c:v>
                </c:pt>
                <c:pt idx="5">
                  <c:v>2748</c:v>
                </c:pt>
                <c:pt idx="6">
                  <c:v>3087</c:v>
                </c:pt>
                <c:pt idx="7">
                  <c:v>1799</c:v>
                </c:pt>
                <c:pt idx="8">
                  <c:v>1653</c:v>
                </c:pt>
                <c:pt idx="9">
                  <c:v>5595</c:v>
                </c:pt>
                <c:pt idx="10">
                  <c:v>4493</c:v>
                </c:pt>
                <c:pt idx="11">
                  <c:v>2160</c:v>
                </c:pt>
                <c:pt idx="12">
                  <c:v>2590</c:v>
                </c:pt>
                <c:pt idx="13">
                  <c:v>1858</c:v>
                </c:pt>
                <c:pt idx="14">
                  <c:v>898</c:v>
                </c:pt>
                <c:pt idx="15">
                  <c:v>1114</c:v>
                </c:pt>
                <c:pt idx="16">
                  <c:v>1275</c:v>
                </c:pt>
                <c:pt idx="17">
                  <c:v>1259</c:v>
                </c:pt>
                <c:pt idx="18">
                  <c:v>1634</c:v>
                </c:pt>
                <c:pt idx="19">
                  <c:v>1136</c:v>
                </c:pt>
                <c:pt idx="20">
                  <c:v>626</c:v>
                </c:pt>
                <c:pt idx="21">
                  <c:v>541</c:v>
                </c:pt>
                <c:pt idx="22">
                  <c:v>688</c:v>
                </c:pt>
                <c:pt idx="23">
                  <c:v>879</c:v>
                </c:pt>
                <c:pt idx="24">
                  <c:v>28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4.6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2.3</c:v>
                </c:pt>
                <c:pt idx="1">
                  <c:v>13.33</c:v>
                </c:pt>
                <c:pt idx="2">
                  <c:v>13.26</c:v>
                </c:pt>
                <c:pt idx="3">
                  <c:v>11.15</c:v>
                </c:pt>
                <c:pt idx="4">
                  <c:v>12.71</c:v>
                </c:pt>
                <c:pt idx="5">
                  <c:v>13.34</c:v>
                </c:pt>
                <c:pt idx="6">
                  <c:v>12.92</c:v>
                </c:pt>
                <c:pt idx="7">
                  <c:v>14.05</c:v>
                </c:pt>
                <c:pt idx="8">
                  <c:v>13.55</c:v>
                </c:pt>
                <c:pt idx="9">
                  <c:v>11.93</c:v>
                </c:pt>
                <c:pt idx="10">
                  <c:v>12.38</c:v>
                </c:pt>
                <c:pt idx="11">
                  <c:v>14.69</c:v>
                </c:pt>
                <c:pt idx="12">
                  <c:v>14.55</c:v>
                </c:pt>
                <c:pt idx="13">
                  <c:v>14.63</c:v>
                </c:pt>
                <c:pt idx="14">
                  <c:v>14.48</c:v>
                </c:pt>
                <c:pt idx="15">
                  <c:v>14.28</c:v>
                </c:pt>
                <c:pt idx="16">
                  <c:v>14.66</c:v>
                </c:pt>
                <c:pt idx="17">
                  <c:v>14.64</c:v>
                </c:pt>
                <c:pt idx="18">
                  <c:v>14.85</c:v>
                </c:pt>
                <c:pt idx="19">
                  <c:v>14.56</c:v>
                </c:pt>
                <c:pt idx="20">
                  <c:v>14.56</c:v>
                </c:pt>
                <c:pt idx="21">
                  <c:v>14.24</c:v>
                </c:pt>
                <c:pt idx="22">
                  <c:v>14.33</c:v>
                </c:pt>
                <c:pt idx="23">
                  <c:v>14.65</c:v>
                </c:pt>
                <c:pt idx="24">
                  <c:v>12.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8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5.0</c:v>
                </c:pt>
                <c:pt idx="2">
                  <c:v>87.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Md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23958681592327</c:v>
                </c:pt>
                <c:pt idx="2">
                  <c:v>0.96830795125719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Md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774646361005752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1.0</c:v>
                </c:pt>
                <c:pt idx="2">
                  <c:v>6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9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9.0</c:v>
                </c:pt>
                <c:pt idx="2">
                  <c:v>1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9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70701145413852</c:v>
                </c:pt>
                <c:pt idx="2">
                  <c:v>0.96511513697527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72092109580223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12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7.0</c:v>
                </c:pt>
                <c:pt idx="2">
                  <c:v>1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081487021878</c:v>
                </c:pt>
                <c:pt idx="2">
                  <c:v>0.96605922195477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72847377563823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0</c:v>
                </c:pt>
                <c:pt idx="2">
                  <c:v>7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6.0</c:v>
                </c:pt>
                <c:pt idx="2">
                  <c:v>13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10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58054455215545</c:v>
                </c:pt>
                <c:pt idx="2">
                  <c:v>1.02732052786693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88644356417243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1.0</c:v>
                </c:pt>
                <c:pt idx="2">
                  <c:v>6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5.0</c:v>
                </c:pt>
                <c:pt idx="2">
                  <c:v>12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2.0</c:v>
                </c:pt>
                <c:pt idx="2">
                  <c:v>10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0434223608873</c:v>
                </c:pt>
                <c:pt idx="2">
                  <c:v>0.96754679946514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0.0</c:v>
                </c:pt>
                <c:pt idx="2">
                  <c:v>9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74037439572119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7.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3.0</c:v>
                </c:pt>
                <c:pt idx="2">
                  <c:v>6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7.0</c:v>
                </c:pt>
                <c:pt idx="2">
                  <c:v>10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8.0</c:v>
                </c:pt>
                <c:pt idx="2">
                  <c:v>13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74.0</c:v>
                </c:pt>
                <c:pt idx="2">
                  <c:v>8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62216613155295</c:v>
                </c:pt>
                <c:pt idx="2">
                  <c:v>1.054518386768414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2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0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10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0.0</c:v>
                </c:pt>
                <c:pt idx="2">
                  <c:v>5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4.0</c:v>
                </c:pt>
                <c:pt idx="2">
                  <c:v>12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83073356989196</c:v>
                </c:pt>
                <c:pt idx="2">
                  <c:v>0.98734451033157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789875608265263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1.0</c:v>
                </c:pt>
                <c:pt idx="2">
                  <c:v>6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3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364639489549</c:v>
                </c:pt>
                <c:pt idx="2">
                  <c:v>1.03910741920700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3.0</c:v>
                </c:pt>
                <c:pt idx="2">
                  <c:v>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4.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3.0</c:v>
                </c:pt>
                <c:pt idx="2">
                  <c:v>12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9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4444910358805</c:v>
                </c:pt>
                <c:pt idx="2">
                  <c:v>0.963846501601944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771077201281555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10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5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8.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2.0</c:v>
                </c:pt>
                <c:pt idx="2">
                  <c:v>9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30302024655191</c:v>
                </c:pt>
                <c:pt idx="2">
                  <c:v>0.94149756394814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2.0</c:v>
                </c:pt>
                <c:pt idx="2">
                  <c:v>8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753198051158519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11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4.0</c:v>
                </c:pt>
                <c:pt idx="2">
                  <c:v>6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9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20.0</c:v>
                </c:pt>
                <c:pt idx="2">
                  <c:v>13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209063998984</c:v>
                </c:pt>
                <c:pt idx="2">
                  <c:v>0.984234229833628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873873838669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2.0</c:v>
                </c:pt>
                <c:pt idx="2">
                  <c:v>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9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5.0</c:v>
                </c:pt>
                <c:pt idx="2">
                  <c:v>13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1.0</c:v>
                </c:pt>
                <c:pt idx="2">
                  <c:v>10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61472072231565</c:v>
                </c:pt>
                <c:pt idx="2">
                  <c:v>0.9692683898380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75414711870408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5.0</c:v>
                </c:pt>
                <c:pt idx="2">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8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7.0</c:v>
                </c:pt>
                <c:pt idx="2">
                  <c:v>92.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ernod Ric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8.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8934498743763</c:v>
                </c:pt>
                <c:pt idx="2">
                  <c:v>0.98195265225237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ernod Ric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785562121801903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2.0</c:v>
                </c:pt>
                <c:pt idx="2">
                  <c:v>6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9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1.0</c:v>
                </c:pt>
                <c:pt idx="2">
                  <c:v>13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9.0</c:v>
                </c:pt>
                <c:pt idx="2">
                  <c:v>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59415406274646</c:v>
                </c:pt>
                <c:pt idx="2">
                  <c:v>1.00530855419965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3,9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2,0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2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3987</c:v>
                </c:pt>
                <c:pt idx="1">
                  <c:v>90035</c:v>
                </c:pt>
                <c:pt idx="2">
                  <c:v>68035</c:v>
                </c:pt>
                <c:pt idx="3">
                  <c:v>94000</c:v>
                </c:pt>
                <c:pt idx="4">
                  <c:v>110729</c:v>
                </c:pt>
                <c:pt idx="5">
                  <c:v>117130</c:v>
                </c:pt>
                <c:pt idx="6">
                  <c:v>234229</c:v>
                </c:pt>
                <c:pt idx="7">
                  <c:v>120075</c:v>
                </c:pt>
                <c:pt idx="8">
                  <c:v>89990</c:v>
                </c:pt>
                <c:pt idx="9">
                  <c:v>102558</c:v>
                </c:pt>
                <c:pt idx="10">
                  <c:v>114508</c:v>
                </c:pt>
                <c:pt idx="11">
                  <c:v>117628</c:v>
                </c:pt>
                <c:pt idx="12">
                  <c:v>141640</c:v>
                </c:pt>
                <c:pt idx="13">
                  <c:v>102081</c:v>
                </c:pt>
                <c:pt idx="14">
                  <c:v>75685</c:v>
                </c:pt>
                <c:pt idx="15">
                  <c:v>93063</c:v>
                </c:pt>
                <c:pt idx="16">
                  <c:v>112605</c:v>
                </c:pt>
                <c:pt idx="17">
                  <c:v>145582</c:v>
                </c:pt>
                <c:pt idx="18">
                  <c:v>203080</c:v>
                </c:pt>
                <c:pt idx="19">
                  <c:v>95591</c:v>
                </c:pt>
                <c:pt idx="20">
                  <c:v>78914</c:v>
                </c:pt>
                <c:pt idx="21">
                  <c:v>86860</c:v>
                </c:pt>
                <c:pt idx="22">
                  <c:v>97882</c:v>
                </c:pt>
                <c:pt idx="23">
                  <c:v>116907</c:v>
                </c:pt>
                <c:pt idx="24">
                  <c:v>10927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30.1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8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2.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30.17</c:v>
                </c:pt>
                <c:pt idx="1">
                  <c:v>30.86</c:v>
                </c:pt>
                <c:pt idx="2">
                  <c:v>30.43</c:v>
                </c:pt>
                <c:pt idx="3">
                  <c:v>29.74</c:v>
                </c:pt>
                <c:pt idx="4">
                  <c:v>30.66</c:v>
                </c:pt>
                <c:pt idx="5">
                  <c:v>30.2</c:v>
                </c:pt>
                <c:pt idx="6">
                  <c:v>31.36</c:v>
                </c:pt>
                <c:pt idx="7">
                  <c:v>32.71</c:v>
                </c:pt>
                <c:pt idx="8">
                  <c:v>32.24</c:v>
                </c:pt>
                <c:pt idx="9">
                  <c:v>32.0</c:v>
                </c:pt>
                <c:pt idx="10">
                  <c:v>33.59</c:v>
                </c:pt>
                <c:pt idx="11">
                  <c:v>33.46</c:v>
                </c:pt>
                <c:pt idx="12">
                  <c:v>29.84</c:v>
                </c:pt>
                <c:pt idx="13">
                  <c:v>29.84</c:v>
                </c:pt>
                <c:pt idx="14">
                  <c:v>29.86</c:v>
                </c:pt>
                <c:pt idx="15">
                  <c:v>31.84</c:v>
                </c:pt>
                <c:pt idx="16">
                  <c:v>29.93</c:v>
                </c:pt>
                <c:pt idx="17">
                  <c:v>32.0</c:v>
                </c:pt>
                <c:pt idx="18">
                  <c:v>32.39</c:v>
                </c:pt>
                <c:pt idx="19">
                  <c:v>32.49</c:v>
                </c:pt>
                <c:pt idx="20">
                  <c:v>32.37</c:v>
                </c:pt>
                <c:pt idx="21">
                  <c:v>32.46</c:v>
                </c:pt>
                <c:pt idx="22">
                  <c:v>31.96</c:v>
                </c:pt>
                <c:pt idx="23">
                  <c:v>31.17</c:v>
                </c:pt>
                <c:pt idx="24">
                  <c:v>3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0</c:v>
                </c:pt>
                <c:pt idx="2">
                  <c:v>6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0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0.0</c:v>
                </c:pt>
                <c:pt idx="2">
                  <c:v>14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06,2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94,7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08,6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06217</c:v>
                </c:pt>
                <c:pt idx="1">
                  <c:v>967056</c:v>
                </c:pt>
                <c:pt idx="2">
                  <c:v>631203</c:v>
                </c:pt>
                <c:pt idx="3">
                  <c:v>954145</c:v>
                </c:pt>
                <c:pt idx="4">
                  <c:v>947317</c:v>
                </c:pt>
                <c:pt idx="5">
                  <c:v>1345817</c:v>
                </c:pt>
                <c:pt idx="6">
                  <c:v>3514119</c:v>
                </c:pt>
                <c:pt idx="7">
                  <c:v>1516827</c:v>
                </c:pt>
                <c:pt idx="8">
                  <c:v>729500</c:v>
                </c:pt>
                <c:pt idx="9">
                  <c:v>862009</c:v>
                </c:pt>
                <c:pt idx="10">
                  <c:v>773736</c:v>
                </c:pt>
                <c:pt idx="11">
                  <c:v>931516</c:v>
                </c:pt>
                <c:pt idx="12">
                  <c:v>1019024</c:v>
                </c:pt>
                <c:pt idx="13">
                  <c:v>894797</c:v>
                </c:pt>
                <c:pt idx="14">
                  <c:v>588381</c:v>
                </c:pt>
                <c:pt idx="15">
                  <c:v>875963</c:v>
                </c:pt>
                <c:pt idx="16">
                  <c:v>973355</c:v>
                </c:pt>
                <c:pt idx="17">
                  <c:v>1085474</c:v>
                </c:pt>
                <c:pt idx="18">
                  <c:v>2942665</c:v>
                </c:pt>
                <c:pt idx="19">
                  <c:v>811475</c:v>
                </c:pt>
                <c:pt idx="20">
                  <c:v>665399</c:v>
                </c:pt>
                <c:pt idx="21">
                  <c:v>752887</c:v>
                </c:pt>
                <c:pt idx="22">
                  <c:v>724520</c:v>
                </c:pt>
                <c:pt idx="23">
                  <c:v>854511</c:v>
                </c:pt>
                <c:pt idx="24">
                  <c:v>90866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5.8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46.3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45.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45.88</c:v>
                </c:pt>
                <c:pt idx="1">
                  <c:v>46.66</c:v>
                </c:pt>
                <c:pt idx="2">
                  <c:v>46.31</c:v>
                </c:pt>
                <c:pt idx="3">
                  <c:v>45.02</c:v>
                </c:pt>
                <c:pt idx="4">
                  <c:v>47.91</c:v>
                </c:pt>
                <c:pt idx="5">
                  <c:v>48.39</c:v>
                </c:pt>
                <c:pt idx="6">
                  <c:v>49.57</c:v>
                </c:pt>
                <c:pt idx="7">
                  <c:v>47.81</c:v>
                </c:pt>
                <c:pt idx="8">
                  <c:v>46.5</c:v>
                </c:pt>
                <c:pt idx="9">
                  <c:v>43.8</c:v>
                </c:pt>
                <c:pt idx="10">
                  <c:v>45.62</c:v>
                </c:pt>
                <c:pt idx="11">
                  <c:v>45.88</c:v>
                </c:pt>
                <c:pt idx="12">
                  <c:v>45.96</c:v>
                </c:pt>
                <c:pt idx="13">
                  <c:v>46.35</c:v>
                </c:pt>
                <c:pt idx="14">
                  <c:v>45.33</c:v>
                </c:pt>
                <c:pt idx="15">
                  <c:v>44.39</c:v>
                </c:pt>
                <c:pt idx="16">
                  <c:v>44.56</c:v>
                </c:pt>
                <c:pt idx="17">
                  <c:v>46.03</c:v>
                </c:pt>
                <c:pt idx="18">
                  <c:v>50.56</c:v>
                </c:pt>
                <c:pt idx="19">
                  <c:v>46.08</c:v>
                </c:pt>
                <c:pt idx="20">
                  <c:v>44.83</c:v>
                </c:pt>
                <c:pt idx="21">
                  <c:v>43.09</c:v>
                </c:pt>
                <c:pt idx="22">
                  <c:v>43.45</c:v>
                </c:pt>
                <c:pt idx="23">
                  <c:v>43.54</c:v>
                </c:pt>
                <c:pt idx="24">
                  <c:v>45.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58116661544</c:v>
                </c:pt>
                <c:pt idx="2">
                  <c:v>1.01093995009298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9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3.0</c:v>
                </c:pt>
                <c:pt idx="2">
                  <c:v>6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3.0</c:v>
                </c:pt>
                <c:pt idx="2">
                  <c:v>10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6.0</c:v>
                </c:pt>
                <c:pt idx="2">
                  <c:v>12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0.0</c:v>
                </c:pt>
                <c:pt idx="2">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912500912209</c:v>
                </c:pt>
                <c:pt idx="2">
                  <c:v>1.01685397358242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10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0.0</c:v>
                </c:pt>
                <c:pt idx="2">
                  <c:v>5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4.0</c:v>
                </c:pt>
                <c:pt idx="2">
                  <c:v>12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63123862031411</c:v>
                </c:pt>
                <c:pt idx="2">
                  <c:v>1.035419538176187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8.0</c:v>
                </c:pt>
                <c:pt idx="2">
                  <c:v>10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7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8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13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6136614362781</c:v>
                </c:pt>
                <c:pt idx="2">
                  <c:v>0.996083842913954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9.0</c:v>
                </c:pt>
                <c:pt idx="2">
                  <c:v>9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96867074331163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3.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6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5.0</c:v>
                </c:pt>
                <c:pt idx="2">
                  <c:v>1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5.0</c:v>
                </c:pt>
                <c:pt idx="2">
                  <c:v>13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7.0</c:v>
                </c:pt>
                <c:pt idx="2">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76398790991867</c:v>
                </c:pt>
                <c:pt idx="2">
                  <c:v>1.04440852664909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6.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4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3.0</c:v>
                </c:pt>
                <c:pt idx="2">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22877387480622</c:v>
                </c:pt>
                <c:pt idx="2">
                  <c:v>1.01423666044147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d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ardin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ratien &amp; Mey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Freixenet</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1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Listel</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76172422319294</c:v>
                </c:pt>
                <c:pt idx="2">
                  <c:v>1.03638836231764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d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ardin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ratien &amp; Mey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Freixenet</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Listel</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313.0</c:v>
                </c:pt>
                <c:pt idx="2">
                  <c:v>2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5.0</c:v>
                </c:pt>
                <c:pt idx="2">
                  <c:v>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75.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744720886472924</c:v>
                </c:pt>
                <c:pt idx="2">
                  <c:v>1.38986888085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575.0</c:v>
                </c:pt>
                <c:pt idx="2">
                  <c:v>47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2.0</c:v>
                </c:pt>
                <c:pt idx="2">
                  <c:v>3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69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82461135576157</c:v>
                </c:pt>
                <c:pt idx="2">
                  <c:v>1.42103897868555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323.0</c:v>
                </c:pt>
                <c:pt idx="2">
                  <c:v>4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0.0</c:v>
                </c:pt>
                <c:pt idx="2">
                  <c:v>3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95.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3,947,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414,4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41,414,413</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43947779</c:v>
                </c:pt>
                <c:pt idx="1">
                  <c:v>42530064</c:v>
                </c:pt>
                <c:pt idx="2">
                  <c:v>43947779</c:v>
                </c:pt>
                <c:pt idx="3">
                  <c:v>42530064</c:v>
                </c:pt>
                <c:pt idx="4">
                  <c:v>43947779</c:v>
                </c:pt>
                <c:pt idx="5">
                  <c:v>43947779</c:v>
                </c:pt>
                <c:pt idx="6">
                  <c:v>41112377</c:v>
                </c:pt>
                <c:pt idx="7">
                  <c:v>43947779</c:v>
                </c:pt>
                <c:pt idx="8">
                  <c:v>42530064</c:v>
                </c:pt>
                <c:pt idx="9">
                  <c:v>43947779</c:v>
                </c:pt>
                <c:pt idx="10">
                  <c:v>42530064</c:v>
                </c:pt>
                <c:pt idx="11">
                  <c:v>43315591</c:v>
                </c:pt>
                <c:pt idx="12">
                  <c:v>42794923</c:v>
                </c:pt>
                <c:pt idx="13">
                  <c:v>41414413</c:v>
                </c:pt>
                <c:pt idx="14">
                  <c:v>42794923</c:v>
                </c:pt>
                <c:pt idx="15">
                  <c:v>41414413</c:v>
                </c:pt>
                <c:pt idx="16">
                  <c:v>42794923</c:v>
                </c:pt>
                <c:pt idx="17">
                  <c:v>42794923</c:v>
                </c:pt>
                <c:pt idx="18">
                  <c:v>38654072</c:v>
                </c:pt>
                <c:pt idx="19">
                  <c:v>42794923</c:v>
                </c:pt>
                <c:pt idx="20">
                  <c:v>41414413</c:v>
                </c:pt>
                <c:pt idx="21">
                  <c:v>42794923</c:v>
                </c:pt>
                <c:pt idx="22">
                  <c:v>414144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5.9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6.4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26.41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25.97</c:v>
                </c:pt>
                <c:pt idx="1">
                  <c:v>25.97</c:v>
                </c:pt>
                <c:pt idx="2">
                  <c:v>25.97</c:v>
                </c:pt>
                <c:pt idx="3">
                  <c:v>25.97</c:v>
                </c:pt>
                <c:pt idx="4">
                  <c:v>25.97</c:v>
                </c:pt>
                <c:pt idx="5">
                  <c:v>25.97</c:v>
                </c:pt>
                <c:pt idx="6">
                  <c:v>25.96</c:v>
                </c:pt>
                <c:pt idx="7">
                  <c:v>25.97</c:v>
                </c:pt>
                <c:pt idx="8">
                  <c:v>25.97</c:v>
                </c:pt>
                <c:pt idx="9">
                  <c:v>25.97</c:v>
                </c:pt>
                <c:pt idx="10">
                  <c:v>25.97</c:v>
                </c:pt>
                <c:pt idx="11">
                  <c:v>26.2</c:v>
                </c:pt>
                <c:pt idx="12">
                  <c:v>26.41</c:v>
                </c:pt>
                <c:pt idx="13">
                  <c:v>26.41</c:v>
                </c:pt>
                <c:pt idx="14">
                  <c:v>26.41</c:v>
                </c:pt>
                <c:pt idx="15">
                  <c:v>26.41</c:v>
                </c:pt>
                <c:pt idx="16">
                  <c:v>26.41</c:v>
                </c:pt>
                <c:pt idx="17">
                  <c:v>26.41</c:v>
                </c:pt>
                <c:pt idx="18">
                  <c:v>26.4</c:v>
                </c:pt>
                <c:pt idx="19">
                  <c:v>26.41</c:v>
                </c:pt>
                <c:pt idx="20">
                  <c:v>26.41</c:v>
                </c:pt>
                <c:pt idx="21">
                  <c:v>26.41</c:v>
                </c:pt>
                <c:pt idx="22">
                  <c:v>26.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375354432814428</c:v>
                </c:pt>
                <c:pt idx="2">
                  <c:v>1.321052533612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2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39.0</c:v>
                </c:pt>
                <c:pt idx="2">
                  <c:v>46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9.0</c:v>
                </c:pt>
                <c:pt idx="2">
                  <c:v>3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rench Bloom</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0</c:v>
                </c:pt>
                <c:pt idx="2">
                  <c:v>10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766.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55797125465372</c:v>
                </c:pt>
                <c:pt idx="2">
                  <c:v>1.32819076657939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rench Bloom</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5.0</c:v>
                </c:pt>
                <c:pt idx="2">
                  <c:v>9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76.0</c:v>
                </c:pt>
                <c:pt idx="2">
                  <c:v>26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9.0</c:v>
                </c:pt>
                <c:pt idx="2">
                  <c:v>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3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36,0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60,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49,8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636009</c:v>
                </c:pt>
                <c:pt idx="1">
                  <c:v>2011628</c:v>
                </c:pt>
                <c:pt idx="2">
                  <c:v>1177215</c:v>
                </c:pt>
                <c:pt idx="3">
                  <c:v>2149628</c:v>
                </c:pt>
                <c:pt idx="4">
                  <c:v>2188655</c:v>
                </c:pt>
                <c:pt idx="5">
                  <c:v>2946328</c:v>
                </c:pt>
                <c:pt idx="6">
                  <c:v>7672376</c:v>
                </c:pt>
                <c:pt idx="7">
                  <c:v>3611330</c:v>
                </c:pt>
                <c:pt idx="8">
                  <c:v>1778643</c:v>
                </c:pt>
                <c:pt idx="9">
                  <c:v>2028965</c:v>
                </c:pt>
                <c:pt idx="10">
                  <c:v>1720160</c:v>
                </c:pt>
                <c:pt idx="11">
                  <c:v>2153125</c:v>
                </c:pt>
                <c:pt idx="12">
                  <c:v>2261488</c:v>
                </c:pt>
                <c:pt idx="13">
                  <c:v>1760565</c:v>
                </c:pt>
                <c:pt idx="14">
                  <c:v>1102904</c:v>
                </c:pt>
                <c:pt idx="15">
                  <c:v>1954049</c:v>
                </c:pt>
                <c:pt idx="16">
                  <c:v>2380063</c:v>
                </c:pt>
                <c:pt idx="17">
                  <c:v>2522547</c:v>
                </c:pt>
                <c:pt idx="18">
                  <c:v>6268950</c:v>
                </c:pt>
                <c:pt idx="19">
                  <c:v>2028121</c:v>
                </c:pt>
                <c:pt idx="20">
                  <c:v>1602056</c:v>
                </c:pt>
                <c:pt idx="21">
                  <c:v>1747289</c:v>
                </c:pt>
                <c:pt idx="22">
                  <c:v>1711123</c:v>
                </c:pt>
                <c:pt idx="23">
                  <c:v>1959122</c:v>
                </c:pt>
                <c:pt idx="24">
                  <c:v>20498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5.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6.1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1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5.92</c:v>
                </c:pt>
                <c:pt idx="1">
                  <c:v>56.38</c:v>
                </c:pt>
                <c:pt idx="2">
                  <c:v>55.73</c:v>
                </c:pt>
                <c:pt idx="3">
                  <c:v>53.56</c:v>
                </c:pt>
                <c:pt idx="4">
                  <c:v>56.06</c:v>
                </c:pt>
                <c:pt idx="5">
                  <c:v>52.71</c:v>
                </c:pt>
                <c:pt idx="6">
                  <c:v>55.39</c:v>
                </c:pt>
                <c:pt idx="7">
                  <c:v>55.25</c:v>
                </c:pt>
                <c:pt idx="8">
                  <c:v>56.43</c:v>
                </c:pt>
                <c:pt idx="9">
                  <c:v>53.12</c:v>
                </c:pt>
                <c:pt idx="10">
                  <c:v>54.88</c:v>
                </c:pt>
                <c:pt idx="11">
                  <c:v>55.3</c:v>
                </c:pt>
                <c:pt idx="12">
                  <c:v>55.79</c:v>
                </c:pt>
                <c:pt idx="13">
                  <c:v>56.1</c:v>
                </c:pt>
                <c:pt idx="14">
                  <c:v>59.11</c:v>
                </c:pt>
                <c:pt idx="15">
                  <c:v>54.53</c:v>
                </c:pt>
                <c:pt idx="16">
                  <c:v>55.82</c:v>
                </c:pt>
                <c:pt idx="17">
                  <c:v>55.55</c:v>
                </c:pt>
                <c:pt idx="18">
                  <c:v>56.71</c:v>
                </c:pt>
                <c:pt idx="19">
                  <c:v>57.77</c:v>
                </c:pt>
                <c:pt idx="20">
                  <c:v>54.28</c:v>
                </c:pt>
                <c:pt idx="21">
                  <c:v>53.14</c:v>
                </c:pt>
                <c:pt idx="22">
                  <c:v>56.47</c:v>
                </c:pt>
                <c:pt idx="23">
                  <c:v>53.49</c:v>
                </c:pt>
                <c:pt idx="24">
                  <c:v>55.1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25441657710746</c:v>
                </c:pt>
                <c:pt idx="2">
                  <c:v>1.29785178655525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2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5.0</c:v>
                </c:pt>
                <c:pt idx="2">
                  <c:v>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81217540460272</c:v>
                </c:pt>
                <c:pt idx="2">
                  <c:v>1.33575803778938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476.0</c:v>
                </c:pt>
                <c:pt idx="2">
                  <c:v>700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7.0</c:v>
                </c:pt>
                <c:pt idx="2">
                  <c:v>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8407.1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94031909632753</c:v>
                </c:pt>
                <c:pt idx="2">
                  <c:v>1.419679342026496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33.0</c:v>
                </c:pt>
                <c:pt idx="2">
                  <c:v>14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9.0</c:v>
                </c:pt>
                <c:pt idx="2">
                  <c:v>12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0</c:v>
                </c:pt>
                <c:pt idx="2">
                  <c:v>5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17285861989533</c:v>
                </c:pt>
                <c:pt idx="2">
                  <c:v>1.06558202574638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9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0.793382868959162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226.0</c:v>
                </c:pt>
                <c:pt idx="2">
                  <c:v>18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54.0</c:v>
                </c:pt>
                <c:pt idx="2">
                  <c:v>3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French Bloom</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67.0</c:v>
                </c:pt>
                <c:pt idx="2">
                  <c:v>34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1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2554887589557768</c:v>
                </c:pt>
                <c:pt idx="2">
                  <c:v>1.35977380658266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French Bloom</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372.0</c:v>
                </c:pt>
                <c:pt idx="2">
                  <c:v>3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49.0</c:v>
                </c:pt>
                <c:pt idx="2">
                  <c:v>3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3163230167888016</c:v>
                </c:pt>
                <c:pt idx="2">
                  <c:v>1.42693941169718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 Chancen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yre'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51,0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76,4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6,6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551006</c:v>
                </c:pt>
                <c:pt idx="1">
                  <c:v>464900</c:v>
                </c:pt>
                <c:pt idx="2">
                  <c:v>291235</c:v>
                </c:pt>
                <c:pt idx="3">
                  <c:v>473675</c:v>
                </c:pt>
                <c:pt idx="4">
                  <c:v>489385</c:v>
                </c:pt>
                <c:pt idx="5">
                  <c:v>617650</c:v>
                </c:pt>
                <c:pt idx="6">
                  <c:v>1374904</c:v>
                </c:pt>
                <c:pt idx="7">
                  <c:v>698943</c:v>
                </c:pt>
                <c:pt idx="8">
                  <c:v>355435</c:v>
                </c:pt>
                <c:pt idx="9">
                  <c:v>441410</c:v>
                </c:pt>
                <c:pt idx="10">
                  <c:v>360660</c:v>
                </c:pt>
                <c:pt idx="11">
                  <c:v>407411</c:v>
                </c:pt>
                <c:pt idx="12">
                  <c:v>463076</c:v>
                </c:pt>
                <c:pt idx="13">
                  <c:v>376448</c:v>
                </c:pt>
                <c:pt idx="14">
                  <c:v>193291</c:v>
                </c:pt>
                <c:pt idx="15">
                  <c:v>402394</c:v>
                </c:pt>
                <c:pt idx="16">
                  <c:v>447201</c:v>
                </c:pt>
                <c:pt idx="17">
                  <c:v>484864</c:v>
                </c:pt>
                <c:pt idx="18">
                  <c:v>1180181</c:v>
                </c:pt>
                <c:pt idx="19">
                  <c:v>487406</c:v>
                </c:pt>
                <c:pt idx="20">
                  <c:v>336489</c:v>
                </c:pt>
                <c:pt idx="21">
                  <c:v>361141</c:v>
                </c:pt>
                <c:pt idx="22">
                  <c:v>347510</c:v>
                </c:pt>
                <c:pt idx="23">
                  <c:v>378724</c:v>
                </c:pt>
                <c:pt idx="24">
                  <c:v>39665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7.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6.7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2.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7.69</c:v>
                </c:pt>
                <c:pt idx="1">
                  <c:v>67.49</c:v>
                </c:pt>
                <c:pt idx="2">
                  <c:v>73.4</c:v>
                </c:pt>
                <c:pt idx="3">
                  <c:v>63.01</c:v>
                </c:pt>
                <c:pt idx="4">
                  <c:v>65.03</c:v>
                </c:pt>
                <c:pt idx="5">
                  <c:v>61.98</c:v>
                </c:pt>
                <c:pt idx="6">
                  <c:v>64.83</c:v>
                </c:pt>
                <c:pt idx="7">
                  <c:v>65.82</c:v>
                </c:pt>
                <c:pt idx="8">
                  <c:v>64.31</c:v>
                </c:pt>
                <c:pt idx="9">
                  <c:v>64.09</c:v>
                </c:pt>
                <c:pt idx="10">
                  <c:v>65.59</c:v>
                </c:pt>
                <c:pt idx="11">
                  <c:v>65.42</c:v>
                </c:pt>
                <c:pt idx="12">
                  <c:v>65.52</c:v>
                </c:pt>
                <c:pt idx="13">
                  <c:v>66.7</c:v>
                </c:pt>
                <c:pt idx="14">
                  <c:v>70.44</c:v>
                </c:pt>
                <c:pt idx="15">
                  <c:v>65.18</c:v>
                </c:pt>
                <c:pt idx="16">
                  <c:v>63.65</c:v>
                </c:pt>
                <c:pt idx="17">
                  <c:v>61.27</c:v>
                </c:pt>
                <c:pt idx="18">
                  <c:v>66.48</c:v>
                </c:pt>
                <c:pt idx="19">
                  <c:v>70.2</c:v>
                </c:pt>
                <c:pt idx="20">
                  <c:v>64.04</c:v>
                </c:pt>
                <c:pt idx="21">
                  <c:v>61.65</c:v>
                </c:pt>
                <c:pt idx="22">
                  <c:v>66.46</c:v>
                </c:pt>
                <c:pt idx="23">
                  <c:v>60.85</c:v>
                </c:pt>
                <c:pt idx="24">
                  <c:v>62.8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d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ar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Freixenet</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6.0</c:v>
                </c:pt>
                <c:pt idx="2">
                  <c:v>9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Wolfberg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11057360055287</c:v>
                </c:pt>
                <c:pt idx="2">
                  <c:v>1.002389179583374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d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ari</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Freixenet</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Wolfberg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9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9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1.0</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3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33438391542222</c:v>
                </c:pt>
                <c:pt idx="2">
                  <c:v>1.03198702305826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8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53.0</c:v>
                </c:pt>
                <c:pt idx="2">
                  <c:v>1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1.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3.0</c:v>
                </c:pt>
                <c:pt idx="2">
                  <c:v>9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50.0</c:v>
                </c:pt>
                <c:pt idx="2">
                  <c:v>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0931481922752</c:v>
                </c:pt>
                <c:pt idx="2">
                  <c:v>1.0328184909992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8.0</c:v>
                </c:pt>
                <c:pt idx="2">
                  <c:v>8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7.0</c:v>
                </c:pt>
                <c:pt idx="2">
                  <c:v>10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11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66.0</c:v>
                </c:pt>
                <c:pt idx="2">
                  <c:v>13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42.0</c:v>
                </c:pt>
                <c:pt idx="2">
                  <c:v>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9.2"/>
          <c:min val="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4596910668635</c:v>
                </c:pt>
                <c:pt idx="2">
                  <c:v>1.04267454002088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vet-Laduba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tteg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ur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ontarini</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7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9,8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1,2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6,5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9847</c:v>
                </c:pt>
                <c:pt idx="1">
                  <c:v>305990</c:v>
                </c:pt>
                <c:pt idx="2">
                  <c:v>338796</c:v>
                </c:pt>
                <c:pt idx="3">
                  <c:v>198483</c:v>
                </c:pt>
                <c:pt idx="4">
                  <c:v>164070</c:v>
                </c:pt>
                <c:pt idx="5">
                  <c:v>183861</c:v>
                </c:pt>
                <c:pt idx="6">
                  <c:v>612659</c:v>
                </c:pt>
                <c:pt idx="7">
                  <c:v>233993</c:v>
                </c:pt>
                <c:pt idx="8">
                  <c:v>98679</c:v>
                </c:pt>
                <c:pt idx="9">
                  <c:v>125807</c:v>
                </c:pt>
                <c:pt idx="10">
                  <c:v>129645</c:v>
                </c:pt>
                <c:pt idx="11">
                  <c:v>226839</c:v>
                </c:pt>
                <c:pt idx="12">
                  <c:v>197802</c:v>
                </c:pt>
                <c:pt idx="13">
                  <c:v>301224</c:v>
                </c:pt>
                <c:pt idx="14">
                  <c:v>332070</c:v>
                </c:pt>
                <c:pt idx="15">
                  <c:v>172824</c:v>
                </c:pt>
                <c:pt idx="16">
                  <c:v>175781</c:v>
                </c:pt>
                <c:pt idx="17">
                  <c:v>161429</c:v>
                </c:pt>
                <c:pt idx="18">
                  <c:v>524901</c:v>
                </c:pt>
                <c:pt idx="19">
                  <c:v>114958</c:v>
                </c:pt>
                <c:pt idx="20">
                  <c:v>95266</c:v>
                </c:pt>
                <c:pt idx="21">
                  <c:v>117156</c:v>
                </c:pt>
                <c:pt idx="22">
                  <c:v>144703</c:v>
                </c:pt>
                <c:pt idx="23">
                  <c:v>182604</c:v>
                </c:pt>
                <c:pt idx="24">
                  <c:v>2165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3.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5.4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4.7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3.34</c:v>
                </c:pt>
                <c:pt idx="1">
                  <c:v>65.61</c:v>
                </c:pt>
                <c:pt idx="2">
                  <c:v>59.84</c:v>
                </c:pt>
                <c:pt idx="3">
                  <c:v>55.6</c:v>
                </c:pt>
                <c:pt idx="4">
                  <c:v>56.85</c:v>
                </c:pt>
                <c:pt idx="5">
                  <c:v>50.92</c:v>
                </c:pt>
                <c:pt idx="6">
                  <c:v>54.41</c:v>
                </c:pt>
                <c:pt idx="7">
                  <c:v>55.02</c:v>
                </c:pt>
                <c:pt idx="8">
                  <c:v>54.04</c:v>
                </c:pt>
                <c:pt idx="9">
                  <c:v>52.73</c:v>
                </c:pt>
                <c:pt idx="10">
                  <c:v>57.34</c:v>
                </c:pt>
                <c:pt idx="11">
                  <c:v>62.13</c:v>
                </c:pt>
                <c:pt idx="12">
                  <c:v>61.14</c:v>
                </c:pt>
                <c:pt idx="13">
                  <c:v>65.47</c:v>
                </c:pt>
                <c:pt idx="14">
                  <c:v>61.32</c:v>
                </c:pt>
                <c:pt idx="15">
                  <c:v>56.81</c:v>
                </c:pt>
                <c:pt idx="16">
                  <c:v>56.38</c:v>
                </c:pt>
                <c:pt idx="17">
                  <c:v>54.8</c:v>
                </c:pt>
                <c:pt idx="18">
                  <c:v>56.32</c:v>
                </c:pt>
                <c:pt idx="19">
                  <c:v>57.88</c:v>
                </c:pt>
                <c:pt idx="20">
                  <c:v>54.44</c:v>
                </c:pt>
                <c:pt idx="21">
                  <c:v>52.28</c:v>
                </c:pt>
                <c:pt idx="22">
                  <c:v>53.81</c:v>
                </c:pt>
                <c:pt idx="23">
                  <c:v>55.74</c:v>
                </c:pt>
                <c:pt idx="24">
                  <c:v>64.7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5.0</c:v>
                </c:pt>
                <c:pt idx="2">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8.0</c:v>
                </c:pt>
                <c:pt idx="2">
                  <c:v>8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47.0</c:v>
                </c:pt>
                <c:pt idx="2">
                  <c:v>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3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690569225895025</c:v>
                </c:pt>
                <c:pt idx="2">
                  <c:v>1.00070405181821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1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7.0</c:v>
                </c:pt>
                <c:pt idx="2">
                  <c:v>8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7752455380716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8.0</c:v>
                </c:pt>
                <c:pt idx="2">
                  <c:v>4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1.0</c:v>
                </c:pt>
                <c:pt idx="2">
                  <c:v>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26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21.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0,9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2,4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4,1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220953</c:v>
                </c:pt>
                <c:pt idx="1">
                  <c:v>218183</c:v>
                </c:pt>
                <c:pt idx="2">
                  <c:v>192484</c:v>
                </c:pt>
                <c:pt idx="3">
                  <c:v>175519</c:v>
                </c:pt>
                <c:pt idx="4">
                  <c:v>172838</c:v>
                </c:pt>
                <c:pt idx="5">
                  <c:v>240324</c:v>
                </c:pt>
                <c:pt idx="6">
                  <c:v>775779</c:v>
                </c:pt>
                <c:pt idx="7">
                  <c:v>226611</c:v>
                </c:pt>
                <c:pt idx="8">
                  <c:v>115808</c:v>
                </c:pt>
                <c:pt idx="9">
                  <c:v>141118</c:v>
                </c:pt>
                <c:pt idx="10">
                  <c:v>134040</c:v>
                </c:pt>
                <c:pt idx="11">
                  <c:v>180867</c:v>
                </c:pt>
                <c:pt idx="12">
                  <c:v>200206</c:v>
                </c:pt>
                <c:pt idx="13">
                  <c:v>222410</c:v>
                </c:pt>
                <c:pt idx="14">
                  <c:v>192158</c:v>
                </c:pt>
                <c:pt idx="15">
                  <c:v>166926</c:v>
                </c:pt>
                <c:pt idx="16">
                  <c:v>129693</c:v>
                </c:pt>
                <c:pt idx="17">
                  <c:v>174108</c:v>
                </c:pt>
                <c:pt idx="18">
                  <c:v>695742</c:v>
                </c:pt>
                <c:pt idx="19">
                  <c:v>132901</c:v>
                </c:pt>
                <c:pt idx="20">
                  <c:v>100570</c:v>
                </c:pt>
                <c:pt idx="21">
                  <c:v>118124</c:v>
                </c:pt>
                <c:pt idx="22">
                  <c:v>128342</c:v>
                </c:pt>
                <c:pt idx="23">
                  <c:v>162889</c:v>
                </c:pt>
                <c:pt idx="24">
                  <c:v>19416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7.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0.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0.4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7.46</c:v>
                </c:pt>
                <c:pt idx="1">
                  <c:v>59.29</c:v>
                </c:pt>
                <c:pt idx="2">
                  <c:v>64.23</c:v>
                </c:pt>
                <c:pt idx="3">
                  <c:v>55.7</c:v>
                </c:pt>
                <c:pt idx="4">
                  <c:v>61.84</c:v>
                </c:pt>
                <c:pt idx="5">
                  <c:v>53.97</c:v>
                </c:pt>
                <c:pt idx="6">
                  <c:v>57.34</c:v>
                </c:pt>
                <c:pt idx="7">
                  <c:v>57.69</c:v>
                </c:pt>
                <c:pt idx="8">
                  <c:v>58.88</c:v>
                </c:pt>
                <c:pt idx="9">
                  <c:v>58.17</c:v>
                </c:pt>
                <c:pt idx="10">
                  <c:v>62.14</c:v>
                </c:pt>
                <c:pt idx="11">
                  <c:v>57.55</c:v>
                </c:pt>
                <c:pt idx="12">
                  <c:v>57.85</c:v>
                </c:pt>
                <c:pt idx="13">
                  <c:v>60.55</c:v>
                </c:pt>
                <c:pt idx="14">
                  <c:v>61.31</c:v>
                </c:pt>
                <c:pt idx="15">
                  <c:v>56.74</c:v>
                </c:pt>
                <c:pt idx="16">
                  <c:v>57.13</c:v>
                </c:pt>
                <c:pt idx="17">
                  <c:v>54.84</c:v>
                </c:pt>
                <c:pt idx="18">
                  <c:v>58.37</c:v>
                </c:pt>
                <c:pt idx="19">
                  <c:v>61.59</c:v>
                </c:pt>
                <c:pt idx="20">
                  <c:v>57.63</c:v>
                </c:pt>
                <c:pt idx="21">
                  <c:v>56.44</c:v>
                </c:pt>
                <c:pt idx="22">
                  <c:v>55.58</c:v>
                </c:pt>
                <c:pt idx="23">
                  <c:v>56.95</c:v>
                </c:pt>
                <c:pt idx="24">
                  <c:v>60.4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85407930674713</c:v>
                </c:pt>
                <c:pt idx="2">
                  <c:v>1.02742575375966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8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7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0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47.0</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3.0</c:v>
                </c:pt>
                <c:pt idx="2">
                  <c:v>14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6497777271174</c:v>
                </c:pt>
                <c:pt idx="2">
                  <c:v>1.035663399065314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1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8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795719822181693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3.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50.0</c:v>
                </c:pt>
                <c:pt idx="2">
                  <c:v>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eray</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0.0</c:v>
                </c:pt>
                <c:pt idx="2">
                  <c:v>9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84537262194249</c:v>
                </c:pt>
                <c:pt idx="2">
                  <c:v>1.03883564583035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eray</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1.0</c:v>
                </c:pt>
                <c:pt idx="2">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48.0</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4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11120476551378</c:v>
                </c:pt>
                <c:pt idx="2">
                  <c:v>1.02796410281836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Krit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ttega</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ur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ontarini</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hardonni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8.0</c:v>
                </c:pt>
                <c:pt idx="2">
                  <c:v>8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4.0</c:v>
                </c:pt>
                <c:pt idx="2">
                  <c:v>7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3.0</c:v>
                </c:pt>
                <c:pt idx="2">
                  <c:v>6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1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C Sas France</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2342514970061</c:v>
                </c:pt>
                <c:pt idx="2">
                  <c:v>0.98934227544910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C Sas France</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1473820359281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1.0</c:v>
                </c:pt>
                <c:pt idx="2">
                  <c:v>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1.0</c:v>
                </c:pt>
                <c:pt idx="2">
                  <c:v>10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54.0</c:v>
                </c:pt>
                <c:pt idx="2">
                  <c:v>15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5.0</c:v>
                </c:pt>
                <c:pt idx="2">
                  <c:v>14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69371541855908</c:v>
                </c:pt>
                <c:pt idx="2">
                  <c:v>0.93672312148719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9.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749378497189753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8.0</c:v>
                </c:pt>
                <c:pt idx="2">
                  <c:v>8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9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0.0</c:v>
                </c:pt>
                <c:pt idx="2">
                  <c:v>13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ernod Ric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215.0</c:v>
                </c:pt>
                <c:pt idx="2">
                  <c:v>18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2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5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78016248113573</c:v>
                </c:pt>
                <c:pt idx="2">
                  <c:v>0.988847721378288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ernod Ricar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1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0.791078177102630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3.0</c:v>
                </c:pt>
                <c:pt idx="2">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elamo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10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7.0</c:v>
                </c:pt>
                <c:pt idx="2">
                  <c:v>12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8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09791644862536</c:v>
                </c:pt>
                <c:pt idx="2">
                  <c:v>0.9801177115205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elamo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9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9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84094169216467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8.0</c:v>
                </c:pt>
                <c:pt idx="2">
                  <c:v>12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elamo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7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71.0</c:v>
                </c:pt>
                <c:pt idx="2">
                  <c:v>14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45.0</c:v>
                </c:pt>
                <c:pt idx="2">
                  <c:v>11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0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63964286942045</c:v>
                </c:pt>
                <c:pt idx="2">
                  <c:v>0.985337609209175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3.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elamotte</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9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4.0</c:v>
                </c:pt>
                <c:pt idx="2">
                  <c:v>9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788270087367340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1.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2.0</c:v>
                </c:pt>
                <c:pt idx="2">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43.0</c:v>
                </c:pt>
                <c:pt idx="2">
                  <c:v>8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8.0</c:v>
                </c:pt>
                <c:pt idx="2">
                  <c:v>15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3.0</c:v>
                </c:pt>
                <c:pt idx="2">
                  <c:v>25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0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9019583640148</c:v>
                </c:pt>
                <c:pt idx="2">
                  <c:v>0.91245993675007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4.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9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0.729967949400062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44.0</c:v>
                </c:pt>
                <c:pt idx="2">
                  <c:v>14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9.0</c:v>
                </c:pt>
                <c:pt idx="2">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9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58.0</c:v>
                </c:pt>
                <c:pt idx="2">
                  <c:v>1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9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49987940653269</c:v>
                </c:pt>
                <c:pt idx="2">
                  <c:v>0.974537400299745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6.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4.0</c:v>
                </c:pt>
                <c:pt idx="2">
                  <c:v>9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59990352522615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2.0</c:v>
                </c:pt>
                <c:pt idx="2">
                  <c:v>7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6.0</c:v>
                </c:pt>
                <c:pt idx="2">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81.0</c:v>
                </c:pt>
                <c:pt idx="2">
                  <c:v>10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73.0</c:v>
                </c:pt>
                <c:pt idx="2">
                  <c:v>6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36.0</c:v>
                </c:pt>
                <c:pt idx="2">
                  <c:v>3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6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938316473700613</c:v>
                </c:pt>
                <c:pt idx="2">
                  <c:v>0.9361489740110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nson-Bc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5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enrio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1.0</c:v>
                </c:pt>
                <c:pt idx="2">
                  <c:v>8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0.79999999999998"/>
          <c:min val="0.748919179208874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2,2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2,8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4,7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22225</c:v>
                </c:pt>
                <c:pt idx="1">
                  <c:v>115920</c:v>
                </c:pt>
                <c:pt idx="2">
                  <c:v>90741</c:v>
                </c:pt>
                <c:pt idx="3">
                  <c:v>104534</c:v>
                </c:pt>
                <c:pt idx="4">
                  <c:v>110134</c:v>
                </c:pt>
                <c:pt idx="5">
                  <c:v>160321</c:v>
                </c:pt>
                <c:pt idx="6">
                  <c:v>546172</c:v>
                </c:pt>
                <c:pt idx="7">
                  <c:v>181943</c:v>
                </c:pt>
                <c:pt idx="8">
                  <c:v>77153</c:v>
                </c:pt>
                <c:pt idx="9">
                  <c:v>96132</c:v>
                </c:pt>
                <c:pt idx="10">
                  <c:v>79800</c:v>
                </c:pt>
                <c:pt idx="11">
                  <c:v>118408</c:v>
                </c:pt>
                <c:pt idx="12">
                  <c:v>112897</c:v>
                </c:pt>
                <c:pt idx="13">
                  <c:v>112818</c:v>
                </c:pt>
                <c:pt idx="14">
                  <c:v>83259</c:v>
                </c:pt>
                <c:pt idx="15">
                  <c:v>93888</c:v>
                </c:pt>
                <c:pt idx="16">
                  <c:v>122139</c:v>
                </c:pt>
                <c:pt idx="17">
                  <c:v>136939</c:v>
                </c:pt>
                <c:pt idx="18">
                  <c:v>469516</c:v>
                </c:pt>
                <c:pt idx="19">
                  <c:v>87238</c:v>
                </c:pt>
                <c:pt idx="20">
                  <c:v>68690</c:v>
                </c:pt>
                <c:pt idx="21">
                  <c:v>83787</c:v>
                </c:pt>
                <c:pt idx="22">
                  <c:v>85611</c:v>
                </c:pt>
                <c:pt idx="23">
                  <c:v>105795</c:v>
                </c:pt>
                <c:pt idx="24">
                  <c:v>1047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2.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3.0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2.3</c:v>
                </c:pt>
                <c:pt idx="1">
                  <c:v>51.16</c:v>
                </c:pt>
                <c:pt idx="2">
                  <c:v>56.4</c:v>
                </c:pt>
                <c:pt idx="3">
                  <c:v>51.6</c:v>
                </c:pt>
                <c:pt idx="4">
                  <c:v>53.28</c:v>
                </c:pt>
                <c:pt idx="5">
                  <c:v>50.67</c:v>
                </c:pt>
                <c:pt idx="6">
                  <c:v>54.38</c:v>
                </c:pt>
                <c:pt idx="7">
                  <c:v>54.7</c:v>
                </c:pt>
                <c:pt idx="8">
                  <c:v>55.91</c:v>
                </c:pt>
                <c:pt idx="9">
                  <c:v>50.84</c:v>
                </c:pt>
                <c:pt idx="10">
                  <c:v>53.31</c:v>
                </c:pt>
                <c:pt idx="11">
                  <c:v>52.86</c:v>
                </c:pt>
                <c:pt idx="12">
                  <c:v>53.48</c:v>
                </c:pt>
                <c:pt idx="13">
                  <c:v>53.09</c:v>
                </c:pt>
                <c:pt idx="14">
                  <c:v>57.07</c:v>
                </c:pt>
                <c:pt idx="15">
                  <c:v>52.45</c:v>
                </c:pt>
                <c:pt idx="16">
                  <c:v>53.15</c:v>
                </c:pt>
                <c:pt idx="17">
                  <c:v>54.3</c:v>
                </c:pt>
                <c:pt idx="18">
                  <c:v>55.95</c:v>
                </c:pt>
                <c:pt idx="19">
                  <c:v>58.9</c:v>
                </c:pt>
                <c:pt idx="20">
                  <c:v>54.21</c:v>
                </c:pt>
                <c:pt idx="21">
                  <c:v>53.64</c:v>
                </c:pt>
                <c:pt idx="22">
                  <c:v>54.63</c:v>
                </c:pt>
                <c:pt idx="23">
                  <c:v>54.31</c:v>
                </c:pt>
                <c:pt idx="24">
                  <c:v>55.5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4.0</c:v>
                </c:pt>
                <c:pt idx="2">
                  <c:v>8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9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2.0</c:v>
                </c:pt>
                <c:pt idx="2">
                  <c:v>82.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ernod Ric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8.0</c:v>
                </c:pt>
                <c:pt idx="2">
                  <c:v>1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943547348240875</c:v>
                </c:pt>
                <c:pt idx="2">
                  <c:v>0.9888572316225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ernod Ric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H$2:$H$4</c:f>
              <c:numCache>
                <c:formatCode>General</c:formatCode>
                <c:ptCount val="3"/>
                <c:pt idx="0">
                  <c:v>100.0</c:v>
                </c:pt>
                <c:pt idx="1">
                  <c:v>101.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1085785298062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9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6.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7.0</c:v>
                </c:pt>
                <c:pt idx="2">
                  <c:v>14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0.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85812961567753</c:v>
                </c:pt>
                <c:pt idx="2">
                  <c:v>1.02251868730488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8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0</c:v>
                </c:pt>
                <c:pt idx="2">
                  <c:v>6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2.0</c:v>
                </c:pt>
                <c:pt idx="2">
                  <c:v>9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2.0</c:v>
                </c:pt>
                <c:pt idx="2">
                  <c:v>1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9.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43081245743913</c:v>
                </c:pt>
                <c:pt idx="2">
                  <c:v>1.02949361849045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1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4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1,4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0120</c:v>
                </c:pt>
                <c:pt idx="1">
                  <c:v>85899</c:v>
                </c:pt>
                <c:pt idx="2">
                  <c:v>74136</c:v>
                </c:pt>
                <c:pt idx="3">
                  <c:v>70763</c:v>
                </c:pt>
                <c:pt idx="4">
                  <c:v>72647</c:v>
                </c:pt>
                <c:pt idx="5">
                  <c:v>102129</c:v>
                </c:pt>
                <c:pt idx="6">
                  <c:v>335927</c:v>
                </c:pt>
                <c:pt idx="7">
                  <c:v>127055</c:v>
                </c:pt>
                <c:pt idx="8">
                  <c:v>56823</c:v>
                </c:pt>
                <c:pt idx="9">
                  <c:v>61573</c:v>
                </c:pt>
                <c:pt idx="10">
                  <c:v>52552</c:v>
                </c:pt>
                <c:pt idx="11">
                  <c:v>81026</c:v>
                </c:pt>
                <c:pt idx="12">
                  <c:v>69255</c:v>
                </c:pt>
                <c:pt idx="13">
                  <c:v>72429</c:v>
                </c:pt>
                <c:pt idx="14">
                  <c:v>74579</c:v>
                </c:pt>
                <c:pt idx="15">
                  <c:v>66630</c:v>
                </c:pt>
                <c:pt idx="16">
                  <c:v>78620</c:v>
                </c:pt>
                <c:pt idx="17">
                  <c:v>85235</c:v>
                </c:pt>
                <c:pt idx="18">
                  <c:v>305857</c:v>
                </c:pt>
                <c:pt idx="19">
                  <c:v>53854</c:v>
                </c:pt>
                <c:pt idx="20">
                  <c:v>50071</c:v>
                </c:pt>
                <c:pt idx="21">
                  <c:v>58859</c:v>
                </c:pt>
                <c:pt idx="22">
                  <c:v>60773</c:v>
                </c:pt>
                <c:pt idx="23">
                  <c:v>73797</c:v>
                </c:pt>
                <c:pt idx="24">
                  <c:v>7146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4.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3.4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5.2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4.5</c:v>
                </c:pt>
                <c:pt idx="1">
                  <c:v>56.7</c:v>
                </c:pt>
                <c:pt idx="2">
                  <c:v>56.81</c:v>
                </c:pt>
                <c:pt idx="3">
                  <c:v>50.84</c:v>
                </c:pt>
                <c:pt idx="4">
                  <c:v>55.63</c:v>
                </c:pt>
                <c:pt idx="5">
                  <c:v>48.87</c:v>
                </c:pt>
                <c:pt idx="6">
                  <c:v>53.34</c:v>
                </c:pt>
                <c:pt idx="7">
                  <c:v>58.02</c:v>
                </c:pt>
                <c:pt idx="8">
                  <c:v>54.32</c:v>
                </c:pt>
                <c:pt idx="9">
                  <c:v>51.87</c:v>
                </c:pt>
                <c:pt idx="10">
                  <c:v>50.53</c:v>
                </c:pt>
                <c:pt idx="11">
                  <c:v>54.27</c:v>
                </c:pt>
                <c:pt idx="12">
                  <c:v>52.67</c:v>
                </c:pt>
                <c:pt idx="13">
                  <c:v>53.41</c:v>
                </c:pt>
                <c:pt idx="14">
                  <c:v>56.46</c:v>
                </c:pt>
                <c:pt idx="15">
                  <c:v>52.01</c:v>
                </c:pt>
                <c:pt idx="16">
                  <c:v>53.67</c:v>
                </c:pt>
                <c:pt idx="17">
                  <c:v>57.24</c:v>
                </c:pt>
                <c:pt idx="18">
                  <c:v>54.5</c:v>
                </c:pt>
                <c:pt idx="19">
                  <c:v>56.16</c:v>
                </c:pt>
                <c:pt idx="20">
                  <c:v>53.44</c:v>
                </c:pt>
                <c:pt idx="21">
                  <c:v>53.22</c:v>
                </c:pt>
                <c:pt idx="22">
                  <c:v>53.22</c:v>
                </c:pt>
                <c:pt idx="23">
                  <c:v>52.38</c:v>
                </c:pt>
                <c:pt idx="24">
                  <c:v>55.2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4.0</c:v>
                </c:pt>
                <c:pt idx="2">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2.0</c:v>
                </c:pt>
                <c:pt idx="2">
                  <c:v>7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8.0</c:v>
                </c:pt>
                <c:pt idx="2">
                  <c:v>10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9.0</c:v>
                </c:pt>
                <c:pt idx="2">
                  <c:v>16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76.0</c:v>
                </c:pt>
                <c:pt idx="2">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0947895470862</c:v>
                </c:pt>
                <c:pt idx="2">
                  <c:v>1.04936098218980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0.0</c:v>
                </c:pt>
                <c:pt idx="2">
                  <c:v>1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5.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7.0</c:v>
                </c:pt>
                <c:pt idx="2">
                  <c:v>6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4.0</c:v>
                </c:pt>
                <c:pt idx="2">
                  <c:v>10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4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3.0</c:v>
                </c:pt>
                <c:pt idx="2">
                  <c:v>9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0717382527953</c:v>
                </c:pt>
                <c:pt idx="2">
                  <c:v>1.02235250293034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4.0</c:v>
                </c:pt>
                <c:pt idx="2">
                  <c:v>8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3.0</c:v>
                </c:pt>
                <c:pt idx="2">
                  <c:v>7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41.0</c:v>
                </c:pt>
                <c:pt idx="2">
                  <c:v>12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6.0</c:v>
                </c:pt>
                <c:pt idx="2">
                  <c:v>13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2.0</c:v>
                </c:pt>
                <c:pt idx="2">
                  <c:v>9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97964185517767</c:v>
                </c:pt>
                <c:pt idx="2">
                  <c:v>1.03341155366436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1.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9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4.0</c:v>
                </c:pt>
                <c:pt idx="2">
                  <c:v>6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0.0</c:v>
                </c:pt>
                <c:pt idx="2">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31.0</c:v>
                </c:pt>
                <c:pt idx="2">
                  <c:v>17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34664194805434</c:v>
                </c:pt>
                <c:pt idx="2">
                  <c:v>1.012404027344964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0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0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3.0</c:v>
                </c:pt>
                <c:pt idx="2">
                  <c:v>5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1.0</c:v>
                </c:pt>
                <c:pt idx="2">
                  <c:v>9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3.0</c:v>
                </c:pt>
                <c:pt idx="2">
                  <c:v>12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De Blign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9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141208698271</c:v>
                </c:pt>
                <c:pt idx="2">
                  <c:v>1.02978840148024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De Blign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8.0</c:v>
                </c:pt>
                <c:pt idx="2">
                  <c:v>5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32.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13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1.0</c:v>
                </c:pt>
                <c:pt idx="2">
                  <c:v>1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46230565917336</c:v>
                </c:pt>
                <c:pt idx="2">
                  <c:v>1.04032165942545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0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9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5.0</c:v>
                </c:pt>
                <c:pt idx="2">
                  <c:v>6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7.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4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3.0</c:v>
                </c:pt>
                <c:pt idx="2">
                  <c:v>9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31012084441655</c:v>
                </c:pt>
                <c:pt idx="2">
                  <c:v>1.03272462815186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7.0</c:v>
                </c:pt>
                <c:pt idx="2">
                  <c:v>9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6.0</c:v>
                </c:pt>
                <c:pt idx="2">
                  <c:v>6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5.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4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3.0</c:v>
                </c:pt>
                <c:pt idx="2">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29094751533463</c:v>
                </c:pt>
                <c:pt idx="2">
                  <c:v>1.0254850182588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ranken Pomme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9.0</c:v>
                </c:pt>
                <c:pt idx="2">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4.0</c:v>
                </c:pt>
                <c:pt idx="2">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5.0</c:v>
                </c:pt>
                <c:pt idx="2">
                  <c:v>10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3.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1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62,7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18,2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12,7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762730</c:v>
                </c:pt>
                <c:pt idx="1">
                  <c:v>1481606</c:v>
                </c:pt>
                <c:pt idx="2">
                  <c:v>1144221</c:v>
                </c:pt>
                <c:pt idx="3">
                  <c:v>1477495</c:v>
                </c:pt>
                <c:pt idx="4">
                  <c:v>1443436</c:v>
                </c:pt>
                <c:pt idx="5">
                  <c:v>2033535</c:v>
                </c:pt>
                <c:pt idx="6">
                  <c:v>4848498</c:v>
                </c:pt>
                <c:pt idx="7">
                  <c:v>2238182</c:v>
                </c:pt>
                <c:pt idx="8">
                  <c:v>1154706</c:v>
                </c:pt>
                <c:pt idx="9">
                  <c:v>1333647</c:v>
                </c:pt>
                <c:pt idx="10">
                  <c:v>1111939</c:v>
                </c:pt>
                <c:pt idx="11">
                  <c:v>1501159</c:v>
                </c:pt>
                <c:pt idx="12">
                  <c:v>1522468</c:v>
                </c:pt>
                <c:pt idx="13">
                  <c:v>1418281</c:v>
                </c:pt>
                <c:pt idx="14">
                  <c:v>1073989</c:v>
                </c:pt>
                <c:pt idx="15">
                  <c:v>1370259</c:v>
                </c:pt>
                <c:pt idx="16">
                  <c:v>1623115</c:v>
                </c:pt>
                <c:pt idx="17">
                  <c:v>1706060</c:v>
                </c:pt>
                <c:pt idx="18">
                  <c:v>4152370</c:v>
                </c:pt>
                <c:pt idx="19">
                  <c:v>1370293</c:v>
                </c:pt>
                <c:pt idx="20">
                  <c:v>1033539</c:v>
                </c:pt>
                <c:pt idx="21">
                  <c:v>1106302</c:v>
                </c:pt>
                <c:pt idx="22">
                  <c:v>1152164</c:v>
                </c:pt>
                <c:pt idx="23">
                  <c:v>1381378</c:v>
                </c:pt>
                <c:pt idx="24">
                  <c:v>14127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62.1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63.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61.3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62.14</c:v>
                </c:pt>
                <c:pt idx="1">
                  <c:v>62.51</c:v>
                </c:pt>
                <c:pt idx="2">
                  <c:v>64.05</c:v>
                </c:pt>
                <c:pt idx="3">
                  <c:v>58.54</c:v>
                </c:pt>
                <c:pt idx="4">
                  <c:v>60.58</c:v>
                </c:pt>
                <c:pt idx="5">
                  <c:v>58.32</c:v>
                </c:pt>
                <c:pt idx="6">
                  <c:v>60.96</c:v>
                </c:pt>
                <c:pt idx="7">
                  <c:v>60.31</c:v>
                </c:pt>
                <c:pt idx="8">
                  <c:v>62.16</c:v>
                </c:pt>
                <c:pt idx="9">
                  <c:v>58.6</c:v>
                </c:pt>
                <c:pt idx="10">
                  <c:v>59.99</c:v>
                </c:pt>
                <c:pt idx="11">
                  <c:v>61.35</c:v>
                </c:pt>
                <c:pt idx="12">
                  <c:v>61.79</c:v>
                </c:pt>
                <c:pt idx="13">
                  <c:v>63.46</c:v>
                </c:pt>
                <c:pt idx="14">
                  <c:v>66.13</c:v>
                </c:pt>
                <c:pt idx="15">
                  <c:v>59.38</c:v>
                </c:pt>
                <c:pt idx="16">
                  <c:v>61.11</c:v>
                </c:pt>
                <c:pt idx="17">
                  <c:v>60.08</c:v>
                </c:pt>
                <c:pt idx="18">
                  <c:v>61.51</c:v>
                </c:pt>
                <c:pt idx="19">
                  <c:v>64.46</c:v>
                </c:pt>
                <c:pt idx="20">
                  <c:v>59.18</c:v>
                </c:pt>
                <c:pt idx="21">
                  <c:v>57.65</c:v>
                </c:pt>
                <c:pt idx="22">
                  <c:v>62.51</c:v>
                </c:pt>
                <c:pt idx="23">
                  <c:v>58.2</c:v>
                </c:pt>
                <c:pt idx="24">
                  <c:v>61.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19141562592253</c:v>
                </c:pt>
                <c:pt idx="2">
                  <c:v>1.0358828890115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8.0</c:v>
                </c:pt>
                <c:pt idx="2">
                  <c:v>9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5.0</c:v>
                </c:pt>
                <c:pt idx="2">
                  <c:v>2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3.0</c:v>
                </c:pt>
                <c:pt idx="2">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1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3.0</c:v>
                </c:pt>
                <c:pt idx="2">
                  <c:v>6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54045500531792</c:v>
                </c:pt>
                <c:pt idx="2">
                  <c:v>1.0409323199045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10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5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9.0</c:v>
                </c:pt>
                <c:pt idx="2">
                  <c:v>19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3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05060056222848</c:v>
                </c:pt>
                <c:pt idx="2">
                  <c:v>1.04888206240840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34,6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1,9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98,2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834681</c:v>
                </c:pt>
                <c:pt idx="1">
                  <c:v>656200</c:v>
                </c:pt>
                <c:pt idx="2">
                  <c:v>422415</c:v>
                </c:pt>
                <c:pt idx="3">
                  <c:v>704661</c:v>
                </c:pt>
                <c:pt idx="4">
                  <c:v>699879</c:v>
                </c:pt>
                <c:pt idx="5">
                  <c:v>959536</c:v>
                </c:pt>
                <c:pt idx="6">
                  <c:v>2570801</c:v>
                </c:pt>
                <c:pt idx="7">
                  <c:v>1149421</c:v>
                </c:pt>
                <c:pt idx="8">
                  <c:v>567569</c:v>
                </c:pt>
                <c:pt idx="9">
                  <c:v>655079</c:v>
                </c:pt>
                <c:pt idx="10">
                  <c:v>541069</c:v>
                </c:pt>
                <c:pt idx="11">
                  <c:v>684034</c:v>
                </c:pt>
                <c:pt idx="12">
                  <c:v>733160</c:v>
                </c:pt>
                <c:pt idx="13">
                  <c:v>581947</c:v>
                </c:pt>
                <c:pt idx="14">
                  <c:v>394627</c:v>
                </c:pt>
                <c:pt idx="15">
                  <c:v>633411</c:v>
                </c:pt>
                <c:pt idx="16">
                  <c:v>722099</c:v>
                </c:pt>
                <c:pt idx="17">
                  <c:v>803195</c:v>
                </c:pt>
                <c:pt idx="18">
                  <c:v>2152185</c:v>
                </c:pt>
                <c:pt idx="19">
                  <c:v>692490</c:v>
                </c:pt>
                <c:pt idx="20">
                  <c:v>571823</c:v>
                </c:pt>
                <c:pt idx="21">
                  <c:v>579951</c:v>
                </c:pt>
                <c:pt idx="22">
                  <c:v>526839</c:v>
                </c:pt>
                <c:pt idx="23">
                  <c:v>618229</c:v>
                </c:pt>
                <c:pt idx="24">
                  <c:v>69827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55.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5.2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57.7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55.53</c:v>
                </c:pt>
                <c:pt idx="1">
                  <c:v>56.46</c:v>
                </c:pt>
                <c:pt idx="2">
                  <c:v>56.85</c:v>
                </c:pt>
                <c:pt idx="3">
                  <c:v>53.98</c:v>
                </c:pt>
                <c:pt idx="4">
                  <c:v>56.85</c:v>
                </c:pt>
                <c:pt idx="5">
                  <c:v>53.37</c:v>
                </c:pt>
                <c:pt idx="6">
                  <c:v>56.8</c:v>
                </c:pt>
                <c:pt idx="7">
                  <c:v>56.93</c:v>
                </c:pt>
                <c:pt idx="8">
                  <c:v>56.69</c:v>
                </c:pt>
                <c:pt idx="9">
                  <c:v>54.61</c:v>
                </c:pt>
                <c:pt idx="10">
                  <c:v>56.04</c:v>
                </c:pt>
                <c:pt idx="11">
                  <c:v>55.52</c:v>
                </c:pt>
                <c:pt idx="12">
                  <c:v>56.05</c:v>
                </c:pt>
                <c:pt idx="13">
                  <c:v>55.22</c:v>
                </c:pt>
                <c:pt idx="14">
                  <c:v>57.43</c:v>
                </c:pt>
                <c:pt idx="15">
                  <c:v>55.56</c:v>
                </c:pt>
                <c:pt idx="16">
                  <c:v>55.27</c:v>
                </c:pt>
                <c:pt idx="17">
                  <c:v>55.95</c:v>
                </c:pt>
                <c:pt idx="18">
                  <c:v>57.91</c:v>
                </c:pt>
                <c:pt idx="19">
                  <c:v>59.41</c:v>
                </c:pt>
                <c:pt idx="20">
                  <c:v>55.7</c:v>
                </c:pt>
                <c:pt idx="21">
                  <c:v>54.32</c:v>
                </c:pt>
                <c:pt idx="22">
                  <c:v>54.67</c:v>
                </c:pt>
                <c:pt idx="23">
                  <c:v>53.41</c:v>
                </c:pt>
                <c:pt idx="24">
                  <c:v>57.7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0.0</c:v>
                </c:pt>
                <c:pt idx="2">
                  <c:v>1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1.0</c:v>
                </c:pt>
                <c:pt idx="2">
                  <c:v>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1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595277661298</c:v>
                </c:pt>
                <c:pt idx="2">
                  <c:v>1.03927948355567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1.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3.0</c:v>
                </c:pt>
                <c:pt idx="2">
                  <c:v>2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11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1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6.0</c:v>
                </c:pt>
                <c:pt idx="2">
                  <c:v>1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2797180717247</c:v>
                </c:pt>
                <c:pt idx="2">
                  <c:v>1.022252268768906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9.0</c:v>
                </c:pt>
                <c:pt idx="2">
                  <c:v>9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4.0</c:v>
                </c:pt>
                <c:pt idx="2">
                  <c:v>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39.0</c:v>
                </c:pt>
                <c:pt idx="2">
                  <c:v>18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9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6.0</c:v>
                </c:pt>
                <c:pt idx="2">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566933853695</c:v>
                </c:pt>
                <c:pt idx="2">
                  <c:v>1.025004346438385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8.0</c:v>
                </c:pt>
                <c:pt idx="2">
                  <c:v>1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9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5.0</c:v>
                </c:pt>
                <c:pt idx="2">
                  <c:v>1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1.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0.0</c:v>
                </c:pt>
                <c:pt idx="2">
                  <c:v>14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59413120700407</c:v>
                </c:pt>
                <c:pt idx="2">
                  <c:v>1.041477909236027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1.0</c:v>
                </c:pt>
                <c:pt idx="2">
                  <c:v>2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23.0</c:v>
                </c:pt>
                <c:pt idx="2">
                  <c:v>11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8.0</c:v>
                </c:pt>
                <c:pt idx="2">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2.0</c:v>
                </c:pt>
                <c:pt idx="2">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6198220123127</c:v>
                </c:pt>
                <c:pt idx="2">
                  <c:v>1.03676538830396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Vessel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alard</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ouis Marti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4.0</c:v>
                </c:pt>
                <c:pt idx="2">
                  <c:v>10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7.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6.0</c:v>
                </c:pt>
                <c:pt idx="2">
                  <c:v>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38.0</c:v>
                </c:pt>
                <c:pt idx="2">
                  <c:v>6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6.0</c:v>
                </c:pt>
                <c:pt idx="2">
                  <c:v>6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52638902252187</c:v>
                </c:pt>
                <c:pt idx="2">
                  <c:v>1.13943390594045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10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36.0</c:v>
                </c:pt>
                <c:pt idx="2">
                  <c:v>23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8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6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c:v>
                </c:pt>
                <c:pt idx="2">
                  <c:v>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6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1.1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8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4,4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7,2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3879</c:v>
                </c:pt>
                <c:pt idx="1">
                  <c:v>11502</c:v>
                </c:pt>
                <c:pt idx="2">
                  <c:v>9496</c:v>
                </c:pt>
                <c:pt idx="3">
                  <c:v>16072</c:v>
                </c:pt>
                <c:pt idx="4">
                  <c:v>11736</c:v>
                </c:pt>
                <c:pt idx="5">
                  <c:v>13707</c:v>
                </c:pt>
                <c:pt idx="6">
                  <c:v>61716</c:v>
                </c:pt>
                <c:pt idx="7">
                  <c:v>58330</c:v>
                </c:pt>
                <c:pt idx="8">
                  <c:v>30428</c:v>
                </c:pt>
                <c:pt idx="9">
                  <c:v>36465</c:v>
                </c:pt>
                <c:pt idx="10">
                  <c:v>31299</c:v>
                </c:pt>
                <c:pt idx="11">
                  <c:v>35664</c:v>
                </c:pt>
                <c:pt idx="12">
                  <c:v>38557</c:v>
                </c:pt>
                <c:pt idx="13">
                  <c:v>34498</c:v>
                </c:pt>
                <c:pt idx="14">
                  <c:v>24531</c:v>
                </c:pt>
                <c:pt idx="15">
                  <c:v>36229</c:v>
                </c:pt>
                <c:pt idx="16">
                  <c:v>35844</c:v>
                </c:pt>
                <c:pt idx="17">
                  <c:v>40727</c:v>
                </c:pt>
                <c:pt idx="18">
                  <c:v>120283</c:v>
                </c:pt>
                <c:pt idx="19">
                  <c:v>86826</c:v>
                </c:pt>
                <c:pt idx="20">
                  <c:v>58592</c:v>
                </c:pt>
                <c:pt idx="21">
                  <c:v>58359</c:v>
                </c:pt>
                <c:pt idx="22">
                  <c:v>58294</c:v>
                </c:pt>
                <c:pt idx="23">
                  <c:v>60507</c:v>
                </c:pt>
                <c:pt idx="24">
                  <c:v>672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1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6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5.1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16</c:v>
                </c:pt>
                <c:pt idx="1">
                  <c:v>14.94</c:v>
                </c:pt>
                <c:pt idx="2">
                  <c:v>15.44</c:v>
                </c:pt>
                <c:pt idx="3">
                  <c:v>16.42</c:v>
                </c:pt>
                <c:pt idx="4">
                  <c:v>18.63</c:v>
                </c:pt>
                <c:pt idx="5">
                  <c:v>20.07</c:v>
                </c:pt>
                <c:pt idx="6">
                  <c:v>18.58</c:v>
                </c:pt>
                <c:pt idx="7">
                  <c:v>18.58</c:v>
                </c:pt>
                <c:pt idx="8">
                  <c:v>19.1</c:v>
                </c:pt>
                <c:pt idx="9">
                  <c:v>20.5</c:v>
                </c:pt>
                <c:pt idx="10">
                  <c:v>21.06</c:v>
                </c:pt>
                <c:pt idx="11">
                  <c:v>21.41</c:v>
                </c:pt>
                <c:pt idx="12">
                  <c:v>21.72</c:v>
                </c:pt>
                <c:pt idx="13">
                  <c:v>20.68</c:v>
                </c:pt>
                <c:pt idx="14">
                  <c:v>20.81</c:v>
                </c:pt>
                <c:pt idx="15">
                  <c:v>22.25</c:v>
                </c:pt>
                <c:pt idx="16">
                  <c:v>21.84</c:v>
                </c:pt>
                <c:pt idx="17">
                  <c:v>22.1</c:v>
                </c:pt>
                <c:pt idx="18">
                  <c:v>24.09</c:v>
                </c:pt>
                <c:pt idx="19">
                  <c:v>21.22</c:v>
                </c:pt>
                <c:pt idx="20">
                  <c:v>23.76</c:v>
                </c:pt>
                <c:pt idx="21">
                  <c:v>23.99</c:v>
                </c:pt>
                <c:pt idx="22">
                  <c:v>23.85</c:v>
                </c:pt>
                <c:pt idx="23">
                  <c:v>24.4</c:v>
                </c:pt>
                <c:pt idx="24">
                  <c:v>2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3505731870989</c:v>
                </c:pt>
                <c:pt idx="2">
                  <c:v>1.169177642105994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8.0</c:v>
                </c:pt>
                <c:pt idx="2">
                  <c:v>11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8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8.0</c:v>
                </c:pt>
                <c:pt idx="2">
                  <c:v>9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6.0</c:v>
                </c:pt>
                <c:pt idx="2">
                  <c:v>6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2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1.0</c:v>
                </c:pt>
                <c:pt idx="2">
                  <c:v>1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806807126352913</c:v>
                </c:pt>
                <c:pt idx="2">
                  <c:v>1.177023795046414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1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3.0</c:v>
                </c:pt>
                <c:pt idx="2">
                  <c:v>10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7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13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3.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64,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11,5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2"/>
              <c:tx>
                <c:rich>
                  <a:bodyPr/>
                  <a:lstStyle/>
                  <a:p>
                    <a:r>
                      <a:t>Value Sales </a:t>
                    </a:r>
                  </a:p>
                  <a:p>
                    <a:r>
                      <a:t> 1,911,554</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B$2:$B$24</c:f>
              <c:numCache>
                <c:formatCode>General</c:formatCode>
                <c:ptCount val="23"/>
                <c:pt idx="0">
                  <c:v>1764369</c:v>
                </c:pt>
                <c:pt idx="1">
                  <c:v>1707452</c:v>
                </c:pt>
                <c:pt idx="2">
                  <c:v>1764369</c:v>
                </c:pt>
                <c:pt idx="3">
                  <c:v>1707452</c:v>
                </c:pt>
                <c:pt idx="4">
                  <c:v>1764369</c:v>
                </c:pt>
                <c:pt idx="5">
                  <c:v>1764369</c:v>
                </c:pt>
                <c:pt idx="6">
                  <c:v>1650538</c:v>
                </c:pt>
                <c:pt idx="7">
                  <c:v>1764369</c:v>
                </c:pt>
                <c:pt idx="8">
                  <c:v>1707452</c:v>
                </c:pt>
                <c:pt idx="9">
                  <c:v>1764369</c:v>
                </c:pt>
                <c:pt idx="10">
                  <c:v>1707452</c:v>
                </c:pt>
                <c:pt idx="11">
                  <c:v>1880023</c:v>
                </c:pt>
                <c:pt idx="12">
                  <c:v>1975269</c:v>
                </c:pt>
                <c:pt idx="13">
                  <c:v>1911554</c:v>
                </c:pt>
                <c:pt idx="14">
                  <c:v>1975269</c:v>
                </c:pt>
                <c:pt idx="15">
                  <c:v>1911554</c:v>
                </c:pt>
                <c:pt idx="16">
                  <c:v>1975269</c:v>
                </c:pt>
                <c:pt idx="17">
                  <c:v>1975269</c:v>
                </c:pt>
                <c:pt idx="18">
                  <c:v>1784144</c:v>
                </c:pt>
                <c:pt idx="19">
                  <c:v>1975269</c:v>
                </c:pt>
                <c:pt idx="20">
                  <c:v>1911554</c:v>
                </c:pt>
                <c:pt idx="21">
                  <c:v>1975269</c:v>
                </c:pt>
                <c:pt idx="22">
                  <c:v>19115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4.8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5.0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2"/>
              <c:tx>
                <c:rich>
                  <a:bodyPr/>
                  <a:lstStyle/>
                  <a:p>
                    <a:r>
                      <a:t>Av Price/Vol </a:t>
                    </a:r>
                  </a:p>
                  <a:p>
                    <a:r>
                      <a:t>5.03 €</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4</c:f>
              <c:strCache>
                <c:ptCount val="23"/>
                <c:pt idx="0">
                  <c:v>Aug-23</c:v>
                </c:pt>
                <c:pt idx="1">
                  <c:v>Sep-23</c:v>
                </c:pt>
                <c:pt idx="2">
                  <c:v>Oct-23</c:v>
                </c:pt>
                <c:pt idx="3">
                  <c:v>Nov-23</c:v>
                </c:pt>
                <c:pt idx="4">
                  <c:v>Dec-23</c:v>
                </c:pt>
                <c:pt idx="5">
                  <c:v>Jan-24</c:v>
                </c:pt>
                <c:pt idx="6">
                  <c:v>Feb-24</c:v>
                </c:pt>
                <c:pt idx="7">
                  <c:v>Mar-24</c:v>
                </c:pt>
                <c:pt idx="8">
                  <c:v>Apr-24</c:v>
                </c:pt>
                <c:pt idx="9">
                  <c:v>May-24</c:v>
                </c:pt>
                <c:pt idx="10">
                  <c:v>Jun-24</c:v>
                </c:pt>
                <c:pt idx="11">
                  <c:v>Jul-24</c:v>
                </c:pt>
                <c:pt idx="12">
                  <c:v>Aug-24</c:v>
                </c:pt>
                <c:pt idx="13">
                  <c:v>Sep-24</c:v>
                </c:pt>
                <c:pt idx="14">
                  <c:v>Oct-24</c:v>
                </c:pt>
                <c:pt idx="15">
                  <c:v>Nov-24</c:v>
                </c:pt>
                <c:pt idx="16">
                  <c:v>Dec-24</c:v>
                </c:pt>
                <c:pt idx="17">
                  <c:v>Jan-25</c:v>
                </c:pt>
                <c:pt idx="18">
                  <c:v>Feb-25</c:v>
                </c:pt>
                <c:pt idx="19">
                  <c:v>Mar-25</c:v>
                </c:pt>
                <c:pt idx="20">
                  <c:v>Apr-25</c:v>
                </c:pt>
                <c:pt idx="21">
                  <c:v>May-25</c:v>
                </c:pt>
                <c:pt idx="22">
                  <c:v>Jun-25</c:v>
                </c:pt>
              </c:strCache>
            </c:strRef>
          </c:cat>
          <c:val>
            <c:numRef>
              <c:f>Sheet1!$C$2:$C$24</c:f>
              <c:numCache>
                <c:formatCode>General</c:formatCode>
                <c:ptCount val="23"/>
                <c:pt idx="0">
                  <c:v>4.85</c:v>
                </c:pt>
                <c:pt idx="1">
                  <c:v>4.85</c:v>
                </c:pt>
                <c:pt idx="2">
                  <c:v>4.85</c:v>
                </c:pt>
                <c:pt idx="3">
                  <c:v>4.85</c:v>
                </c:pt>
                <c:pt idx="4">
                  <c:v>4.85</c:v>
                </c:pt>
                <c:pt idx="5">
                  <c:v>4.85</c:v>
                </c:pt>
                <c:pt idx="6">
                  <c:v>4.85</c:v>
                </c:pt>
                <c:pt idx="7">
                  <c:v>4.85</c:v>
                </c:pt>
                <c:pt idx="8">
                  <c:v>4.85</c:v>
                </c:pt>
                <c:pt idx="9">
                  <c:v>4.85</c:v>
                </c:pt>
                <c:pt idx="10">
                  <c:v>4.85</c:v>
                </c:pt>
                <c:pt idx="11">
                  <c:v>4.95</c:v>
                </c:pt>
                <c:pt idx="12">
                  <c:v>5.03</c:v>
                </c:pt>
                <c:pt idx="13">
                  <c:v>5.03</c:v>
                </c:pt>
                <c:pt idx="14">
                  <c:v>5.03</c:v>
                </c:pt>
                <c:pt idx="15">
                  <c:v>5.03</c:v>
                </c:pt>
                <c:pt idx="16">
                  <c:v>5.03</c:v>
                </c:pt>
                <c:pt idx="17">
                  <c:v>5.03</c:v>
                </c:pt>
                <c:pt idx="18">
                  <c:v>5.03</c:v>
                </c:pt>
                <c:pt idx="19">
                  <c:v>5.03</c:v>
                </c:pt>
                <c:pt idx="20">
                  <c:v>5.03</c:v>
                </c:pt>
                <c:pt idx="21">
                  <c:v>5.03</c:v>
                </c:pt>
                <c:pt idx="22">
                  <c:v>5.0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34304321486267</c:v>
                </c:pt>
                <c:pt idx="2">
                  <c:v>1.180891558966074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8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7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55.0</c:v>
                </c:pt>
                <c:pt idx="2">
                  <c:v>3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10.0</c:v>
                </c:pt>
                <c:pt idx="2">
                  <c:v>7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83826212205998</c:v>
                </c:pt>
                <c:pt idx="2">
                  <c:v>1.1470305563989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4.0</c:v>
                </c:pt>
                <c:pt idx="2">
                  <c:v>1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7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7.0</c:v>
                </c:pt>
                <c:pt idx="2">
                  <c:v>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5.0</c:v>
                </c:pt>
                <c:pt idx="2">
                  <c:v>7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64491887742555</c:v>
                </c:pt>
                <c:pt idx="2">
                  <c:v>1.14532008078720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11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3.0</c:v>
                </c:pt>
                <c:pt idx="2">
                  <c:v>7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7.0</c:v>
                </c:pt>
                <c:pt idx="2">
                  <c:v>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8.0</c:v>
                </c:pt>
                <c:pt idx="2">
                  <c:v>3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4,3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4,9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1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114332</c:v>
                </c:pt>
                <c:pt idx="1">
                  <c:v>93185</c:v>
                </c:pt>
                <c:pt idx="2">
                  <c:v>59333</c:v>
                </c:pt>
                <c:pt idx="3">
                  <c:v>86351</c:v>
                </c:pt>
                <c:pt idx="4">
                  <c:v>101076</c:v>
                </c:pt>
                <c:pt idx="5">
                  <c:v>107655</c:v>
                </c:pt>
                <c:pt idx="6">
                  <c:v>233912</c:v>
                </c:pt>
                <c:pt idx="7">
                  <c:v>110117</c:v>
                </c:pt>
                <c:pt idx="8">
                  <c:v>72942</c:v>
                </c:pt>
                <c:pt idx="9">
                  <c:v>84804</c:v>
                </c:pt>
                <c:pt idx="10">
                  <c:v>108100</c:v>
                </c:pt>
                <c:pt idx="11">
                  <c:v>109175</c:v>
                </c:pt>
                <c:pt idx="12">
                  <c:v>129604</c:v>
                </c:pt>
                <c:pt idx="13">
                  <c:v>94957</c:v>
                </c:pt>
                <c:pt idx="14">
                  <c:v>70331</c:v>
                </c:pt>
                <c:pt idx="15">
                  <c:v>86587</c:v>
                </c:pt>
                <c:pt idx="16">
                  <c:v>105809</c:v>
                </c:pt>
                <c:pt idx="17">
                  <c:v>143456</c:v>
                </c:pt>
                <c:pt idx="18">
                  <c:v>200338</c:v>
                </c:pt>
                <c:pt idx="19">
                  <c:v>89352</c:v>
                </c:pt>
                <c:pt idx="20">
                  <c:v>69567</c:v>
                </c:pt>
                <c:pt idx="21">
                  <c:v>72964</c:v>
                </c:pt>
                <c:pt idx="22">
                  <c:v>90710</c:v>
                </c:pt>
                <c:pt idx="23">
                  <c:v>116764</c:v>
                </c:pt>
                <c:pt idx="24">
                  <c:v>1091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9.8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9.9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32.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29.86</c:v>
                </c:pt>
                <c:pt idx="1">
                  <c:v>30.25</c:v>
                </c:pt>
                <c:pt idx="2">
                  <c:v>30.07</c:v>
                </c:pt>
                <c:pt idx="3">
                  <c:v>29.4</c:v>
                </c:pt>
                <c:pt idx="4">
                  <c:v>30.24</c:v>
                </c:pt>
                <c:pt idx="5">
                  <c:v>30.35</c:v>
                </c:pt>
                <c:pt idx="6">
                  <c:v>31.27</c:v>
                </c:pt>
                <c:pt idx="7">
                  <c:v>33.15</c:v>
                </c:pt>
                <c:pt idx="8">
                  <c:v>32.02</c:v>
                </c:pt>
                <c:pt idx="9">
                  <c:v>32.26</c:v>
                </c:pt>
                <c:pt idx="10">
                  <c:v>33.99</c:v>
                </c:pt>
                <c:pt idx="11">
                  <c:v>33.61</c:v>
                </c:pt>
                <c:pt idx="12">
                  <c:v>29.99</c:v>
                </c:pt>
                <c:pt idx="13">
                  <c:v>29.93</c:v>
                </c:pt>
                <c:pt idx="14">
                  <c:v>30.29</c:v>
                </c:pt>
                <c:pt idx="15">
                  <c:v>31.93</c:v>
                </c:pt>
                <c:pt idx="16">
                  <c:v>29.94</c:v>
                </c:pt>
                <c:pt idx="17">
                  <c:v>31.92</c:v>
                </c:pt>
                <c:pt idx="18">
                  <c:v>32.74</c:v>
                </c:pt>
                <c:pt idx="19">
                  <c:v>32.39</c:v>
                </c:pt>
                <c:pt idx="20">
                  <c:v>32.34</c:v>
                </c:pt>
                <c:pt idx="21">
                  <c:v>32.3</c:v>
                </c:pt>
                <c:pt idx="22">
                  <c:v>31.52</c:v>
                </c:pt>
                <c:pt idx="23">
                  <c:v>31.11</c:v>
                </c:pt>
                <c:pt idx="24">
                  <c:v>32.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481685414206698</c:v>
                </c:pt>
                <c:pt idx="2">
                  <c:v>1.14511714623081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9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3.0</c:v>
                </c:pt>
                <c:pt idx="2">
                  <c:v>8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3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4.0</c:v>
                </c:pt>
                <c:pt idx="2">
                  <c:v>14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74423263311847</c:v>
                </c:pt>
                <c:pt idx="2">
                  <c:v>1.06562552167294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0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9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7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0.0</c:v>
                </c:pt>
                <c:pt idx="2">
                  <c:v>6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30.0</c:v>
                </c:pt>
                <c:pt idx="2">
                  <c:v>6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nson-Bc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7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150419206927893</c:v>
                </c:pt>
                <c:pt idx="2">
                  <c:v>1.18724405910766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mp;C Sas Franc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2.0</c:v>
                </c:pt>
                <c:pt idx="2">
                  <c:v>29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nson-Bc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5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7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0</c:v>
                </c:pt>
                <c:pt idx="2">
                  <c:v>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241.0</c:v>
                </c:pt>
                <c:pt idx="2">
                  <c:v>20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1.0</c:v>
                </c:pt>
                <c:pt idx="2">
                  <c:v>7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8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6337770210358</c:v>
                </c:pt>
                <c:pt idx="2">
                  <c:v>1.14981217585493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77.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8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9.0</c:v>
                </c:pt>
                <c:pt idx="2">
                  <c:v>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4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9.0</c:v>
                </c:pt>
                <c:pt idx="2">
                  <c:v>6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579720657535343</c:v>
                </c:pt>
                <c:pt idx="2">
                  <c:v>1.14363325295900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5.0</c:v>
                </c:pt>
                <c:pt idx="2">
                  <c:v>10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pi</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11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Lanson-Bcc</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3</c:f>
              <c:numCache>
                <c:formatCode>General</c:formatCode>
                <c:ptCount val="2"/>
                <c:pt idx="0">
                  <c:v>100.0</c:v>
                </c:pt>
                <c:pt idx="1">
                  <c:v>34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mp;C Sas Franc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9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0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0.0</c:v>
                </c:pt>
                <c:pt idx="2">
                  <c:v>1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4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68.0</c:v>
                </c:pt>
                <c:pt idx="2">
                  <c:v>6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93707510439574</c:v>
                </c:pt>
                <c:pt idx="2">
                  <c:v>0.95010124367069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9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2.0</c:v>
                </c:pt>
                <c:pt idx="2">
                  <c:v>9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0.0</c:v>
                </c:pt>
                <c:pt idx="2">
                  <c:v>154.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4.79999999999998"/>
          <c:min val="0.760080994936555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7.0</c:v>
                </c:pt>
                <c:pt idx="2">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23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10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2.0</c:v>
                </c:pt>
                <c:pt idx="2">
                  <c:v>6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4.0</c:v>
                </c:pt>
                <c:pt idx="2">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79.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343788268868819</c:v>
                </c:pt>
                <c:pt idx="2">
                  <c:v>0.993505497229045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2.0</c:v>
                </c:pt>
                <c:pt idx="2">
                  <c:v>9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6.0</c:v>
                </c:pt>
                <c:pt idx="2">
                  <c:v>1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2.0</c:v>
                </c:pt>
                <c:pt idx="2">
                  <c:v>11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0.7948043977832367"/>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51.0</c:v>
                </c:pt>
                <c:pt idx="2">
                  <c:v>1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7.0</c:v>
                </c:pt>
                <c:pt idx="2">
                  <c:v>9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lling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65.0</c:v>
                </c:pt>
                <c:pt idx="2">
                  <c:v>13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ernod Ric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0.0</c:v>
                </c:pt>
                <c:pt idx="2">
                  <c:v>20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6.0</c:v>
                </c:pt>
                <c:pt idx="2">
                  <c:v>8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42.3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116405934264573</c:v>
                </c:pt>
                <c:pt idx="2">
                  <c:v>1.08927457852956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30.0</c:v>
                </c:pt>
                <c:pt idx="2">
                  <c:v>13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3.0</c:v>
                </c:pt>
                <c:pt idx="2">
                  <c:v>9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lling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12.0</c:v>
                </c:pt>
                <c:pt idx="2">
                  <c:v>15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ernod Ric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6.0</c:v>
                </c:pt>
                <c:pt idx="2">
                  <c:v>9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0.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6.0</c:v>
                </c:pt>
                <c:pt idx="2">
                  <c:v>13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7.0</c:v>
                </c:pt>
                <c:pt idx="2">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Bolling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62.0</c:v>
                </c:pt>
                <c:pt idx="2">
                  <c:v>11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ernod Ric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6.0</c:v>
                </c:pt>
                <c:pt idx="2">
                  <c:v>7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8.0</c:v>
                </c:pt>
                <c:pt idx="2">
                  <c:v>9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39202984625322</c:v>
                </c:pt>
                <c:pt idx="2">
                  <c:v>0.870823432813077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7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Mhc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8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Bollinger</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7.0</c:v>
                </c:pt>
                <c:pt idx="2">
                  <c:v>15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ernod Ricar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17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4.0"/>
          <c:min val="0.696658746250462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6.0</c:v>
                </c:pt>
                <c:pt idx="2">
                  <c:v>10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6.0</c:v>
                </c:pt>
                <c:pt idx="2">
                  <c:v>14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1.0</c:v>
                </c:pt>
                <c:pt idx="2">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37.0</c:v>
                </c:pt>
                <c:pt idx="2">
                  <c:v>3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70.0</c:v>
                </c:pt>
                <c:pt idx="2">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738200733335057</c:v>
                </c:pt>
                <c:pt idx="2">
                  <c:v>1.0277371680411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85.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4.0</c:v>
                </c:pt>
                <c:pt idx="2">
                  <c:v>8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5.0</c:v>
                </c:pt>
                <c:pt idx="2">
                  <c:v>10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9.0</c:v>
                </c:pt>
                <c:pt idx="2">
                  <c:v>13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7.0</c:v>
                </c:pt>
                <c:pt idx="2">
                  <c:v>16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10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5.0</c:v>
                </c:pt>
                <c:pt idx="2">
                  <c:v>4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9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908680163247517</c:v>
                </c:pt>
                <c:pt idx="2">
                  <c:v>1.02490460252829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9.0</c:v>
                </c:pt>
                <c:pt idx="2">
                  <c:v>12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42.0</c:v>
                </c:pt>
                <c:pt idx="2">
                  <c:v>1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9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8.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5.0</c:v>
                </c:pt>
                <c:pt idx="2">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B$2:$B$26</c:f>
              <c:numCache>
                <c:formatCode>General</c:formatCode>
                <c:ptCount val="25"/>
                <c:pt idx="0">
                  <c:v>314</c:v>
                </c:pt>
                <c:pt idx="1">
                  <c:v>475</c:v>
                </c:pt>
                <c:pt idx="2">
                  <c:v>655</c:v>
                </c:pt>
                <c:pt idx="3">
                  <c:v>413</c:v>
                </c:pt>
                <c:pt idx="4">
                  <c:v>472</c:v>
                </c:pt>
                <c:pt idx="5">
                  <c:v>337</c:v>
                </c:pt>
                <c:pt idx="6">
                  <c:v>2148</c:v>
                </c:pt>
                <c:pt idx="7">
                  <c:v>1475</c:v>
                </c:pt>
                <c:pt idx="8">
                  <c:v>689</c:v>
                </c:pt>
                <c:pt idx="9">
                  <c:v>1022</c:v>
                </c:pt>
                <c:pt idx="10">
                  <c:v>742</c:v>
                </c:pt>
                <c:pt idx="11">
                  <c:v>955</c:v>
                </c:pt>
                <c:pt idx="12">
                  <c:v>1180</c:v>
                </c:pt>
                <c:pt idx="13">
                  <c:v>1270</c:v>
                </c:pt>
                <c:pt idx="14">
                  <c:v>995</c:v>
                </c:pt>
                <c:pt idx="15">
                  <c:v>1238</c:v>
                </c:pt>
                <c:pt idx="16">
                  <c:v>469</c:v>
                </c:pt>
                <c:pt idx="17">
                  <c:v>940</c:v>
                </c:pt>
                <c:pt idx="18">
                  <c:v>3643</c:v>
                </c:pt>
                <c:pt idx="19">
                  <c:v>1699</c:v>
                </c:pt>
                <c:pt idx="20">
                  <c:v>1543</c:v>
                </c:pt>
                <c:pt idx="21">
                  <c:v>1217</c:v>
                </c:pt>
                <c:pt idx="22">
                  <c:v>1929</c:v>
                </c:pt>
                <c:pt idx="23">
                  <c:v>2782</c:v>
                </c:pt>
                <c:pt idx="24">
                  <c:v>254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6.5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1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6.7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n-23</c:v>
                </c:pt>
                <c:pt idx="1">
                  <c:v>Jul-23</c:v>
                </c:pt>
                <c:pt idx="2">
                  <c:v>Aug-23</c:v>
                </c:pt>
                <c:pt idx="3">
                  <c:v>Sep-23</c:v>
                </c:pt>
                <c:pt idx="4">
                  <c:v>Oct-23</c:v>
                </c:pt>
                <c:pt idx="5">
                  <c:v>Nov-23</c:v>
                </c:pt>
                <c:pt idx="6">
                  <c:v>Dec-23</c:v>
                </c:pt>
                <c:pt idx="7">
                  <c:v>Jan-24</c:v>
                </c:pt>
                <c:pt idx="8">
                  <c:v>Feb-24</c:v>
                </c:pt>
                <c:pt idx="9">
                  <c:v>Mar-24</c:v>
                </c:pt>
                <c:pt idx="10">
                  <c:v>Apr-24</c:v>
                </c:pt>
                <c:pt idx="11">
                  <c:v>May-24</c:v>
                </c:pt>
                <c:pt idx="12">
                  <c:v>Jun-24</c:v>
                </c:pt>
                <c:pt idx="13">
                  <c:v>Jul-24</c:v>
                </c:pt>
                <c:pt idx="14">
                  <c:v>Aug-24</c:v>
                </c:pt>
                <c:pt idx="15">
                  <c:v>Sep-24</c:v>
                </c:pt>
                <c:pt idx="16">
                  <c:v>Oct-24</c:v>
                </c:pt>
                <c:pt idx="17">
                  <c:v>Nov-24</c:v>
                </c:pt>
                <c:pt idx="18">
                  <c:v>Dec-24</c:v>
                </c:pt>
                <c:pt idx="19">
                  <c:v>Jan-25</c:v>
                </c:pt>
                <c:pt idx="20">
                  <c:v>Feb-25</c:v>
                </c:pt>
                <c:pt idx="21">
                  <c:v>Mar-25</c:v>
                </c:pt>
                <c:pt idx="22">
                  <c:v>Apr-25</c:v>
                </c:pt>
                <c:pt idx="23">
                  <c:v>May-25</c:v>
                </c:pt>
                <c:pt idx="24">
                  <c:v>Jun-25</c:v>
                </c:pt>
              </c:strCache>
            </c:strRef>
          </c:cat>
          <c:val>
            <c:numRef>
              <c:f>Sheet1!$C$2:$C$26</c:f>
              <c:numCache>
                <c:formatCode>General</c:formatCode>
                <c:ptCount val="25"/>
                <c:pt idx="0">
                  <c:v>16.53</c:v>
                </c:pt>
                <c:pt idx="1">
                  <c:v>13.57</c:v>
                </c:pt>
                <c:pt idx="2">
                  <c:v>14.89</c:v>
                </c:pt>
                <c:pt idx="3">
                  <c:v>15.88</c:v>
                </c:pt>
                <c:pt idx="4">
                  <c:v>16.86</c:v>
                </c:pt>
                <c:pt idx="5">
                  <c:v>17.74</c:v>
                </c:pt>
                <c:pt idx="6">
                  <c:v>17.32</c:v>
                </c:pt>
                <c:pt idx="7">
                  <c:v>18.67</c:v>
                </c:pt>
                <c:pt idx="8">
                  <c:v>17.23</c:v>
                </c:pt>
                <c:pt idx="9">
                  <c:v>18.93</c:v>
                </c:pt>
                <c:pt idx="10">
                  <c:v>20.05</c:v>
                </c:pt>
                <c:pt idx="11">
                  <c:v>19.49</c:v>
                </c:pt>
                <c:pt idx="12">
                  <c:v>20.0</c:v>
                </c:pt>
                <c:pt idx="13">
                  <c:v>20.16</c:v>
                </c:pt>
                <c:pt idx="14">
                  <c:v>21.17</c:v>
                </c:pt>
                <c:pt idx="15">
                  <c:v>28.79</c:v>
                </c:pt>
                <c:pt idx="16">
                  <c:v>21.32</c:v>
                </c:pt>
                <c:pt idx="17">
                  <c:v>20.89</c:v>
                </c:pt>
                <c:pt idx="18">
                  <c:v>21.95</c:v>
                </c:pt>
                <c:pt idx="19">
                  <c:v>17.16</c:v>
                </c:pt>
                <c:pt idx="20">
                  <c:v>23.03</c:v>
                </c:pt>
                <c:pt idx="21">
                  <c:v>23.86</c:v>
                </c:pt>
                <c:pt idx="22">
                  <c:v>22.69</c:v>
                </c:pt>
                <c:pt idx="23">
                  <c:v>24.84</c:v>
                </c:pt>
                <c:pt idx="24">
                  <c:v>26.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7.0</c:v>
                </c:pt>
                <c:pt idx="2">
                  <c:v>12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3.0</c:v>
                </c:pt>
                <c:pt idx="2">
                  <c:v>7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84.0</c:v>
                </c:pt>
                <c:pt idx="2">
                  <c:v>5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8.0</c:v>
                </c:pt>
                <c:pt idx="2">
                  <c:v>8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63.0</c:v>
                </c:pt>
                <c:pt idx="2">
                  <c:v>2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5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828700177122599</c:v>
                </c:pt>
                <c:pt idx="2">
                  <c:v>0.82367834579580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0.0</c:v>
                </c:pt>
                <c:pt idx="2">
                  <c:v>9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0.0</c:v>
                </c:pt>
                <c:pt idx="2">
                  <c:v>7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79.0</c:v>
                </c:pt>
                <c:pt idx="2">
                  <c:v>9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9.0</c:v>
                </c:pt>
                <c:pt idx="2">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0.6589426766366419"/>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71.0</c:v>
                </c:pt>
                <c:pt idx="2">
                  <c:v>7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3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33.0</c:v>
                </c:pt>
                <c:pt idx="2">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85.0</c:v>
                </c:pt>
                <c:pt idx="2">
                  <c:v>39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4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5234300325346</c:v>
                </c:pt>
                <c:pt idx="2">
                  <c:v>0.64959912195798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61.0</c:v>
                </c:pt>
                <c:pt idx="2">
                  <c:v>7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3</c:f>
              <c:numCache>
                <c:formatCode>General</c:formatCode>
                <c:ptCount val="2"/>
                <c:pt idx="0">
                  <c:v>100.0</c:v>
                </c:pt>
                <c:pt idx="1">
                  <c:v>5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9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9.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519679297566388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2.0</c:v>
                </c:pt>
                <c:pt idx="2">
                  <c:v>12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11.0</c:v>
                </c:pt>
                <c:pt idx="2">
                  <c:v>17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7.0</c:v>
                </c:pt>
                <c:pt idx="2">
                  <c:v>8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85.0</c:v>
                </c:pt>
                <c:pt idx="2">
                  <c:v>11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16.0</c:v>
                </c:pt>
                <c:pt idx="2">
                  <c:v>1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1.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0.9809817621006983</c:v>
                </c:pt>
                <c:pt idx="2">
                  <c:v>0.900549311418265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2.0</c:v>
                </c:pt>
                <c:pt idx="2">
                  <c:v>9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6.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hcs</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2.0</c:v>
                </c:pt>
                <c:pt idx="2">
                  <c:v>9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ollinger</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22.0</c:v>
                </c:pt>
                <c:pt idx="2">
                  <c:v>15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7.0</c:v>
                </c:pt>
                <c:pt idx="2">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9.6"/>
          <c:min val="0.7204394491346123"/>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2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7.0</c:v>
                </c:pt>
                <c:pt idx="2">
                  <c:v>8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5.0</c:v>
                </c:pt>
                <c:pt idx="2">
                  <c:v>9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257433501578923</c:v>
                </c:pt>
                <c:pt idx="2">
                  <c:v>0.99895421053134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98.0</c:v>
                </c:pt>
                <c:pt idx="2">
                  <c:v>9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8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7.0</c:v>
                </c:pt>
                <c:pt idx="2">
                  <c:v>9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4.0</c:v>
                </c:pt>
                <c:pt idx="2">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0.799163368425076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nson-Bcc</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7.0</c:v>
                </c:pt>
                <c:pt idx="2">
                  <c:v>9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7.0</c:v>
                </c:pt>
                <c:pt idx="2">
                  <c:v>11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C&amp;C Sas France</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3.0</c:v>
                </c:pt>
                <c:pt idx="2">
                  <c:v>10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093702814394585</c:v>
                </c:pt>
                <c:pt idx="2">
                  <c:v>1.02115188258629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fgv</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nson-Bcc</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0.0</c:v>
                </c:pt>
                <c:pt idx="2">
                  <c:v>10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101.0</c:v>
                </c:pt>
                <c:pt idx="2">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C&amp;C Sas France</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0.0</c:v>
                </c:pt>
                <c:pt idx="2">
                  <c:v>10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8.0</c:v>
                </c:pt>
                <c:pt idx="2">
                  <c:v>10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85.0</c:v>
                </c:pt>
                <c:pt idx="2">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09.0</c:v>
                </c:pt>
                <c:pt idx="2">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5.0</c:v>
                </c:pt>
                <c:pt idx="2">
                  <c:v>1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19422354767611</c:v>
                </c:pt>
                <c:pt idx="2">
                  <c:v>0.99311742973328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06.0</c:v>
                </c:pt>
                <c:pt idx="2">
                  <c:v>10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99.0</c:v>
                </c:pt>
                <c:pt idx="2">
                  <c:v>8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99.0</c:v>
                </c:pt>
                <c:pt idx="2">
                  <c:v>9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9.0</c:v>
                </c:pt>
                <c:pt idx="2">
                  <c:v>10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106.0</c:v>
                </c:pt>
                <c:pt idx="2">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8.4"/>
          <c:min val="0.794493943786627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B$2:$B$4</c:f>
              <c:numCache>
                <c:formatCode>General</c:formatCode>
                <c:ptCount val="3"/>
                <c:pt idx="0">
                  <c:v>1.0</c:v>
                </c:pt>
                <c:pt idx="1">
                  <c:v>1.0</c:v>
                </c:pt>
                <c:pt idx="2">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oederer</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C$2:$C$4</c:f>
              <c:numCache>
                <c:formatCode>General</c:formatCode>
                <c:ptCount val="3"/>
                <c:pt idx="0">
                  <c:v>100.0</c:v>
                </c:pt>
                <c:pt idx="1">
                  <c:v>113.0</c:v>
                </c:pt>
                <c:pt idx="2">
                  <c:v>1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urent Perrier</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D$2:$D$4</c:f>
              <c:numCache>
                <c:formatCode>General</c:formatCode>
                <c:ptCount val="3"/>
                <c:pt idx="0">
                  <c:v>100.0</c:v>
                </c:pt>
                <c:pt idx="1">
                  <c:v>108.0</c:v>
                </c:pt>
                <c:pt idx="2">
                  <c:v>14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Vranken Pommery</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E$2:$E$4</c:f>
              <c:numCache>
                <c:formatCode>General</c:formatCode>
                <c:ptCount val="3"/>
                <c:pt idx="0">
                  <c:v>100.0</c:v>
                </c:pt>
                <c:pt idx="1">
                  <c:v>126.0</c:v>
                </c:pt>
                <c:pt idx="2">
                  <c:v>7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hc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F$2:$F$4</c:f>
              <c:numCache>
                <c:formatCode>General</c:formatCode>
                <c:ptCount val="3"/>
                <c:pt idx="0">
                  <c:v>100.0</c:v>
                </c:pt>
                <c:pt idx="1">
                  <c:v>95.0</c:v>
                </c:pt>
                <c:pt idx="2">
                  <c:v>9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alard Nicolas</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3</c:v>
                </c:pt>
                <c:pt idx="1">
                  <c:v>2024</c:v>
                </c:pt>
                <c:pt idx="2">
                  <c:v>2025</c:v>
                </c:pt>
              </c:strCache>
            </c:strRef>
          </c:cat>
          <c:val>
            <c:numRef>
              <c:f>Sheet1!$G$2:$G$4</c:f>
              <c:numCache>
                <c:formatCode>General</c:formatCode>
                <c:ptCount val="3"/>
                <c:pt idx="0">
                  <c:v>100.0</c:v>
                </c:pt>
                <c:pt idx="1">
                  <c:v>90.0</c:v>
                </c:pt>
                <c:pt idx="2">
                  <c:v>10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68.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38.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3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4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4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48.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5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5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6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6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3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3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4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4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4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5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5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6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6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4.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6.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4.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5.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7.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2.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9.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0.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4.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0.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3.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0.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4.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6.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1.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5.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2.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7.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1.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8.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7.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2.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9.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0.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7.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1.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1.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2.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9.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3.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4.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1.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2.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7.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8.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3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9.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6.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0.xml"/></Relationships>
</file>

<file path=ppt/notesSlides/_rels/notesSlide3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7.xml"/></Relationships>
</file>

<file path=ppt/notesSlides/_rels/notesSlide3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1.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3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8.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2.xml"/></Relationships>
</file>

<file path=ppt/notesSlides/_rels/notesSlide3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9.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4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4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5.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0.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4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4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1.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5.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2.xml"/></Relationships>
</file>

<file path=ppt/notesSlides/_rels/notesSlide4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7.xml"/></Relationships>
</file>

<file path=ppt/notesSlides/_rels/notesSlide4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4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8.xml"/></Relationships>
</file>

<file path=ppt/notesSlides/_rels/notesSlide4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9.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0.xml"/></Relationships>
</file>

<file path=ppt/notesSlides/_rels/notesSlide4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3.xml"/></Relationships>
</file>

<file path=ppt/notesSlides/_rels/notesSlide4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6.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4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4.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5.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6.xml"/></Relationships>
</file>

<file path=ppt/notesSlides/_rels/notesSlide4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5.xml"/></Relationships>
</file>

<file path=ppt/notesSlides/_rels/notesSlide4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4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4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8.xml"/></Relationships>
</file>

<file path=ppt/notesSlides/_rels/notesSlide4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2.xml"/></Relationships>
</file>

<file path=ppt/notesSlides/_rels/notesSlide5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5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0.xml"/></Relationships>
</file>

<file path=ppt/notesSlides/_rels/notesSlide5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5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7.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5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5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5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5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2.xml"/></Relationships>
</file>

<file path=ppt/notesSlides/_rels/notesSlide5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5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2.xml"/></Relationships>
</file>

<file path=ppt/notesSlides/_rels/notesSlide5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5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5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4.xml"/></Relationships>
</file>

<file path=ppt/notesSlides/_rels/notesSlide5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6.xml"/></Relationships>
</file>

<file path=ppt/notesSlides/_rels/notesSlide5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5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1.xml"/></Relationships>
</file>

<file path=ppt/notesSlides/_rels/notesSlide5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7.xml"/></Relationships>
</file>

<file path=ppt/notesSlides/_rels/notesSlide5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5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5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3.xml"/></Relationships>
</file>

<file path=ppt/notesSlides/_rels/notesSlide5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6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6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6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6.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6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5.xml"/></Relationships>
</file>

<file path=ppt/notesSlides/_rels/notesSlide6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6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8.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6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6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8.xml"/></Relationships>
</file>

<file path=ppt/notesSlides/_rels/notesSlide6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6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6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3.xml"/></Relationships>
</file>

<file path=ppt/notesSlides/_rels/notesSlide6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6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6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0.xml"/></Relationships>
</file>

<file path=ppt/notesSlides/_rels/notesSlide6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4.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6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6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6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5.xml"/></Relationships>
</file>

<file path=ppt/notesSlides/_rels/notesSlide6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6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2.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6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6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6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6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9.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4.xml"/></Relationships>
</file>

<file path=ppt/notesSlides/_rels/notesSlide7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6.xml"/></Relationships>
</file>

<file path=ppt/notesSlides/_rels/notesSlide7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7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1.xml"/></Relationships>
</file>

<file path=ppt/notesSlides/_rels/notesSlide7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7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7.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4.xml"/></Relationships>
</file>

<file path=ppt/notesSlides/_rels/notesSlide7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7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7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7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3.xml"/></Relationships>
</file>

<file path=ppt/notesSlides/_rels/notesSlide7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7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6.xml"/></Relationships>
</file>

<file path=ppt/notesSlides/_rels/notesSlide7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7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9.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7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7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7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7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7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1.xml"/></Relationships>
</file>

<file path=ppt/notesSlides/_rels/notesSlide7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8.xml"/></Relationships>
</file>

<file path=ppt/notesSlides/_rels/notesSlide7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7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7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7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1.xml"/></Relationships>
</file>

<file path=ppt/notesSlides/_rels/notesSlide7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3.xml"/></Relationships>
</file>

<file path=ppt/notesSlides/_rels/notesSlide7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7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7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8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4.xml"/></Relationships>
</file>

<file path=ppt/notesSlides/_rels/notesSlide8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8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8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5.xml"/></Relationships>
</file>

<file path=ppt/notesSlides/_rels/notesSlide8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8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5.xml"/></Relationships>
</file>

<file path=ppt/notesSlides/_rels/notesSlide8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8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8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8.xml"/></Relationships>
</file>

<file path=ppt/notesSlides/_rels/notesSlide8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8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8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7.xml"/></Relationships>
</file>

<file path=ppt/notesSlides/_rels/notesSlide8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8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8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0.xml"/></Relationships>
</file>

<file path=ppt/notesSlides/_rels/notesSlide8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8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7.xml"/></Relationships>
</file>

<file path=ppt/notesSlides/_rels/notesSlide8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1.xml"/></Relationships>
</file>

<file path=ppt/notesSlides/_rels/notesSlide8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8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8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8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8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2.xml"/></Relationships>
</file>

<file path=ppt/notesSlides/_rels/notesSlide8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8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9.xml"/></Relationships>
</file>

<file path=ppt/notesSlides/_rels/notesSlide8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8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0.xml"/></Relationships>
</file>

<file path=ppt/slides/_rels/slide10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0.xml"/><Relationship Id="rId3" Type="http://schemas.openxmlformats.org/officeDocument/2006/relationships/chart" Target="../charts/chart1541.xml"/><Relationship Id="rId4" Type="http://schemas.openxmlformats.org/officeDocument/2006/relationships/chart" Target="../charts/chart154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s>
</file>

<file path=ppt/slides/_rels/slide10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1.xml"/><Relationship Id="rId3" Type="http://schemas.openxmlformats.org/officeDocument/2006/relationships/chart" Target="../charts/chart1563.xml"/><Relationship Id="rId4" Type="http://schemas.openxmlformats.org/officeDocument/2006/relationships/chart" Target="../charts/chart1564.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2.xml"/><Relationship Id="rId3" Type="http://schemas.openxmlformats.org/officeDocument/2006/relationships/chart" Target="../charts/chart1565.xml"/><Relationship Id="rId4" Type="http://schemas.openxmlformats.org/officeDocument/2006/relationships/chart" Target="../charts/chart1566.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8.xml"/><Relationship Id="rId3" Type="http://schemas.openxmlformats.org/officeDocument/2006/relationships/chart" Target="../charts/chart1577.xml"/><Relationship Id="rId4" Type="http://schemas.openxmlformats.org/officeDocument/2006/relationships/chart" Target="../charts/chart1578.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9.xml"/><Relationship Id="rId3" Type="http://schemas.openxmlformats.org/officeDocument/2006/relationships/chart" Target="../charts/chart1579.xml"/><Relationship Id="rId4" Type="http://schemas.openxmlformats.org/officeDocument/2006/relationships/chart" Target="../charts/chart1580.xml"/></Relationships>
</file>

<file path=ppt/slides/_rels/slide10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2.xml"/><Relationship Id="rId3" Type="http://schemas.openxmlformats.org/officeDocument/2006/relationships/chart" Target="../charts/chart1585.xml"/><Relationship Id="rId4" Type="http://schemas.openxmlformats.org/officeDocument/2006/relationships/chart" Target="../charts/chart1586.xml"/></Relationships>
</file>

<file path=ppt/slides/_rels/slide10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4.xml"/><Relationship Id="rId3" Type="http://schemas.openxmlformats.org/officeDocument/2006/relationships/chart" Target="../charts/chart1589.xml"/><Relationship Id="rId4" Type="http://schemas.openxmlformats.org/officeDocument/2006/relationships/chart" Target="../charts/chart1590.xml"/></Relationships>
</file>

<file path=ppt/slides/_rels/slide10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5.xml"/><Relationship Id="rId3" Type="http://schemas.openxmlformats.org/officeDocument/2006/relationships/chart" Target="../charts/chart1591.xml"/><Relationship Id="rId4" Type="http://schemas.openxmlformats.org/officeDocument/2006/relationships/chart" Target="../charts/chart1592.xml"/></Relationships>
</file>

<file path=ppt/slides/_rels/slide10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6.xml"/><Relationship Id="rId3" Type="http://schemas.openxmlformats.org/officeDocument/2006/relationships/chart" Target="../charts/chart1593.xml"/><Relationship Id="rId4" Type="http://schemas.openxmlformats.org/officeDocument/2006/relationships/chart" Target="../charts/chart1594.xml"/></Relationships>
</file>

<file path=ppt/slides/_rels/slide10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9.xml"/><Relationship Id="rId3" Type="http://schemas.openxmlformats.org/officeDocument/2006/relationships/chart" Target="../charts/chart1599.xml"/><Relationship Id="rId4" Type="http://schemas.openxmlformats.org/officeDocument/2006/relationships/chart" Target="../charts/chart1600.xml"/></Relationships>
</file>

<file path=ppt/slides/_rels/slide10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3.xml"/><Relationship Id="rId3" Type="http://schemas.openxmlformats.org/officeDocument/2006/relationships/chart" Target="../charts/chart1607.xml"/><Relationship Id="rId4" Type="http://schemas.openxmlformats.org/officeDocument/2006/relationships/chart" Target="../charts/chart1608.xml"/></Relationships>
</file>

<file path=ppt/slides/_rels/slide10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5.xml"/><Relationship Id="rId3" Type="http://schemas.openxmlformats.org/officeDocument/2006/relationships/chart" Target="../charts/chart1611.xml"/><Relationship Id="rId4" Type="http://schemas.openxmlformats.org/officeDocument/2006/relationships/chart" Target="../charts/chart1612.xml"/></Relationships>
</file>

<file path=ppt/slides/_rels/slide10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0.xml"/><Relationship Id="rId3" Type="http://schemas.openxmlformats.org/officeDocument/2006/relationships/chart" Target="../charts/chart1621.xml"/><Relationship Id="rId4" Type="http://schemas.openxmlformats.org/officeDocument/2006/relationships/chart" Target="../charts/chart1622.xml"/></Relationships>
</file>

<file path=ppt/slides/_rels/slide10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1.xml"/><Relationship Id="rId3" Type="http://schemas.openxmlformats.org/officeDocument/2006/relationships/chart" Target="../charts/chart1623.xml"/><Relationship Id="rId4" Type="http://schemas.openxmlformats.org/officeDocument/2006/relationships/chart" Target="../charts/chart1624.xml"/></Relationships>
</file>

<file path=ppt/slides/_rels/slide10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7.xml"/><Relationship Id="rId3" Type="http://schemas.openxmlformats.org/officeDocument/2006/relationships/chart" Target="../charts/chart1635.xml"/><Relationship Id="rId4" Type="http://schemas.openxmlformats.org/officeDocument/2006/relationships/chart" Target="../charts/chart1636.xml"/></Relationships>
</file>

<file path=ppt/slides/_rels/slide10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8.xml"/><Relationship Id="rId3" Type="http://schemas.openxmlformats.org/officeDocument/2006/relationships/chart" Target="../charts/chart1637.xml"/><Relationship Id="rId4" Type="http://schemas.openxmlformats.org/officeDocument/2006/relationships/chart" Target="../charts/chart1638.xml"/></Relationships>
</file>

<file path=ppt/slides/_rels/slide10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1.xml"/><Relationship Id="rId3" Type="http://schemas.openxmlformats.org/officeDocument/2006/relationships/chart" Target="../charts/chart1643.xml"/><Relationship Id="rId4" Type="http://schemas.openxmlformats.org/officeDocument/2006/relationships/chart" Target="../charts/chart1644.xml"/></Relationships>
</file>

<file path=ppt/slides/_rels/slide10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4.xml"/><Relationship Id="rId3" Type="http://schemas.openxmlformats.org/officeDocument/2006/relationships/chart" Target="../charts/chart1649.xml"/><Relationship Id="rId4" Type="http://schemas.openxmlformats.org/officeDocument/2006/relationships/chart" Target="../charts/chart1650.xml"/></Relationships>
</file>

<file path=ppt/slides/_rels/slide10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2.xml"/><Relationship Id="rId3" Type="http://schemas.openxmlformats.org/officeDocument/2006/relationships/chart" Target="../charts/chart1665.xml"/><Relationship Id="rId4" Type="http://schemas.openxmlformats.org/officeDocument/2006/relationships/chart" Target="../charts/chart1666.xml"/></Relationships>
</file>

<file path=ppt/slides/_rels/slide10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3.xml"/><Relationship Id="rId3" Type="http://schemas.openxmlformats.org/officeDocument/2006/relationships/chart" Target="../charts/chart1667.xml"/><Relationship Id="rId4" Type="http://schemas.openxmlformats.org/officeDocument/2006/relationships/chart" Target="../charts/chart1668.xml"/></Relationships>
</file>

<file path=ppt/slides/_rels/slide10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4.xml"/><Relationship Id="rId3" Type="http://schemas.openxmlformats.org/officeDocument/2006/relationships/chart" Target="../charts/chart1669.xml"/><Relationship Id="rId4" Type="http://schemas.openxmlformats.org/officeDocument/2006/relationships/chart" Target="../charts/chart167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s>
</file>

<file path=ppt/slides/_rels/slide10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9.xml"/><Relationship Id="rId3" Type="http://schemas.openxmlformats.org/officeDocument/2006/relationships/chart" Target="../charts/chart1679.xml"/><Relationship Id="rId4" Type="http://schemas.openxmlformats.org/officeDocument/2006/relationships/chart" Target="../charts/chart1680.xml"/></Relationships>
</file>

<file path=ppt/slides/_rels/slide10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0.xml"/><Relationship Id="rId3" Type="http://schemas.openxmlformats.org/officeDocument/2006/relationships/chart" Target="../charts/chart1681.xml"/><Relationship Id="rId4" Type="http://schemas.openxmlformats.org/officeDocument/2006/relationships/chart" Target="../charts/chart1682.xml"/></Relationships>
</file>

<file path=ppt/slides/_rels/slide10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3.xml"/><Relationship Id="rId3" Type="http://schemas.openxmlformats.org/officeDocument/2006/relationships/chart" Target="../charts/chart1687.xml"/><Relationship Id="rId4" Type="http://schemas.openxmlformats.org/officeDocument/2006/relationships/chart" Target="../charts/chart1688.xml"/></Relationships>
</file>

<file path=ppt/slides/_rels/slide10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5.xml"/><Relationship Id="rId3" Type="http://schemas.openxmlformats.org/officeDocument/2006/relationships/chart" Target="../charts/chart1691.xml"/><Relationship Id="rId4" Type="http://schemas.openxmlformats.org/officeDocument/2006/relationships/chart" Target="../charts/chart1692.xml"/></Relationships>
</file>

<file path=ppt/slides/_rels/slide10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6.xml"/><Relationship Id="rId3" Type="http://schemas.openxmlformats.org/officeDocument/2006/relationships/chart" Target="../charts/chart1693.xml"/><Relationship Id="rId4" Type="http://schemas.openxmlformats.org/officeDocument/2006/relationships/chart" Target="../charts/chart169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xml"/></Relationships>
</file>

<file path=ppt/slides/_rels/slide10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6.xml"/><Relationship Id="rId3" Type="http://schemas.openxmlformats.org/officeDocument/2006/relationships/chart" Target="../charts/chart1713.xml"/><Relationship Id="rId4" Type="http://schemas.openxmlformats.org/officeDocument/2006/relationships/chart" Target="../charts/chart1714.xml"/></Relationships>
</file>

<file path=ppt/slides/_rels/slide10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1.xml"/><Relationship Id="rId3" Type="http://schemas.openxmlformats.org/officeDocument/2006/relationships/chart" Target="../charts/chart1723.xml"/><Relationship Id="rId4" Type="http://schemas.openxmlformats.org/officeDocument/2006/relationships/chart" Target="../charts/chart1724.xml"/></Relationships>
</file>

<file path=ppt/slides/_rels/slide10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2.xml"/><Relationship Id="rId3" Type="http://schemas.openxmlformats.org/officeDocument/2006/relationships/chart" Target="../charts/chart1725.xml"/><Relationship Id="rId4" Type="http://schemas.openxmlformats.org/officeDocument/2006/relationships/chart" Target="../charts/chart1726.xml"/></Relationships>
</file>

<file path=ppt/slides/_rels/slide10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6.xml"/><Relationship Id="rId3" Type="http://schemas.openxmlformats.org/officeDocument/2006/relationships/chart" Target="../charts/chart1733.xml"/><Relationship Id="rId4" Type="http://schemas.openxmlformats.org/officeDocument/2006/relationships/chart" Target="../charts/chart1734.xml"/></Relationships>
</file>

<file path=ppt/slides/_rels/slide1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0.xml"/><Relationship Id="rId3" Type="http://schemas.openxmlformats.org/officeDocument/2006/relationships/chart" Target="../charts/chart1741.xml"/><Relationship Id="rId4" Type="http://schemas.openxmlformats.org/officeDocument/2006/relationships/chart" Target="../charts/chart1742.xml"/></Relationships>
</file>

<file path=ppt/slides/_rels/slide1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1.xml"/><Relationship Id="rId3" Type="http://schemas.openxmlformats.org/officeDocument/2006/relationships/chart" Target="../charts/chart1743.xml"/><Relationship Id="rId4" Type="http://schemas.openxmlformats.org/officeDocument/2006/relationships/chart" Target="../charts/chart1744.xml"/></Relationships>
</file>

<file path=ppt/slides/_rels/slide1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7.xml"/><Relationship Id="rId3" Type="http://schemas.openxmlformats.org/officeDocument/2006/relationships/chart" Target="../charts/chart1755.xml"/><Relationship Id="rId4" Type="http://schemas.openxmlformats.org/officeDocument/2006/relationships/chart" Target="../charts/chart175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s>
</file>

<file path=ppt/slides/_rels/slide1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8.xml"/><Relationship Id="rId3" Type="http://schemas.openxmlformats.org/officeDocument/2006/relationships/chart" Target="../charts/chart1757.xml"/><Relationship Id="rId4" Type="http://schemas.openxmlformats.org/officeDocument/2006/relationships/chart" Target="../charts/chart1758.xml"/></Relationships>
</file>

<file path=ppt/slides/_rels/slide1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1.xml"/><Relationship Id="rId3" Type="http://schemas.openxmlformats.org/officeDocument/2006/relationships/chart" Target="../charts/chart1763.xml"/><Relationship Id="rId4" Type="http://schemas.openxmlformats.org/officeDocument/2006/relationships/chart" Target="../charts/chart1764.xml"/></Relationships>
</file>

<file path=ppt/slides/_rels/slide1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4.xml"/><Relationship Id="rId3" Type="http://schemas.openxmlformats.org/officeDocument/2006/relationships/chart" Target="../charts/chart1769.xml"/><Relationship Id="rId4" Type="http://schemas.openxmlformats.org/officeDocument/2006/relationships/chart" Target="../charts/chart1770.xml"/></Relationships>
</file>

<file path=ppt/slides/_rels/slide1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5.xml"/><Relationship Id="rId3" Type="http://schemas.openxmlformats.org/officeDocument/2006/relationships/chart" Target="../charts/chart1771.xml"/><Relationship Id="rId4" Type="http://schemas.openxmlformats.org/officeDocument/2006/relationships/chart" Target="../charts/chart1772.xml"/></Relationships>
</file>

<file path=ppt/slides/_rels/slide1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8.xml"/><Relationship Id="rId3" Type="http://schemas.openxmlformats.org/officeDocument/2006/relationships/chart" Target="../charts/chart1777.xml"/><Relationship Id="rId4" Type="http://schemas.openxmlformats.org/officeDocument/2006/relationships/chart" Target="../charts/chart1778.xml"/></Relationships>
</file>

<file path=ppt/slides/_rels/slide1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2.xml"/><Relationship Id="rId3" Type="http://schemas.openxmlformats.org/officeDocument/2006/relationships/chart" Target="../charts/chart1785.xml"/><Relationship Id="rId4" Type="http://schemas.openxmlformats.org/officeDocument/2006/relationships/chart" Target="../charts/chart1786.xml"/></Relationships>
</file>

<file path=ppt/slides/_rels/slide1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3.xml"/><Relationship Id="rId3" Type="http://schemas.openxmlformats.org/officeDocument/2006/relationships/chart" Target="../charts/chart1787.xml"/><Relationship Id="rId4" Type="http://schemas.openxmlformats.org/officeDocument/2006/relationships/chart" Target="../charts/chart1788.xml"/></Relationships>
</file>

<file path=ppt/slides/_rels/slide1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9.xml"/><Relationship Id="rId3" Type="http://schemas.openxmlformats.org/officeDocument/2006/relationships/chart" Target="../charts/chart1799.xml"/><Relationship Id="rId4" Type="http://schemas.openxmlformats.org/officeDocument/2006/relationships/chart" Target="../charts/chart1800.xml"/></Relationships>
</file>

<file path=ppt/slides/_rels/slide1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0.xml"/><Relationship Id="rId3" Type="http://schemas.openxmlformats.org/officeDocument/2006/relationships/chart" Target="../charts/chart1801.xml"/><Relationship Id="rId4" Type="http://schemas.openxmlformats.org/officeDocument/2006/relationships/chart" Target="../charts/chart1802.xml"/></Relationships>
</file>

<file path=ppt/slides/_rels/slide1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3.xml"/><Relationship Id="rId3" Type="http://schemas.openxmlformats.org/officeDocument/2006/relationships/chart" Target="../charts/chart1807.xml"/><Relationship Id="rId4" Type="http://schemas.openxmlformats.org/officeDocument/2006/relationships/chart" Target="../charts/chart1808.xml"/></Relationships>
</file>

<file path=ppt/slides/_rels/slide1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6.xml"/><Relationship Id="rId3" Type="http://schemas.openxmlformats.org/officeDocument/2006/relationships/chart" Target="../charts/chart1813.xml"/><Relationship Id="rId4" Type="http://schemas.openxmlformats.org/officeDocument/2006/relationships/chart" Target="../charts/chart1814.xml"/></Relationships>
</file>

<file path=ppt/slides/_rels/slide1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7.xml"/><Relationship Id="rId3" Type="http://schemas.openxmlformats.org/officeDocument/2006/relationships/chart" Target="../charts/chart1815.xml"/><Relationship Id="rId4" Type="http://schemas.openxmlformats.org/officeDocument/2006/relationships/chart" Target="../charts/chart1816.xml"/></Relationships>
</file>

<file path=ppt/slides/_rels/slide11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0.xml"/><Relationship Id="rId3" Type="http://schemas.openxmlformats.org/officeDocument/2006/relationships/chart" Target="../charts/chart1821.xml"/><Relationship Id="rId4" Type="http://schemas.openxmlformats.org/officeDocument/2006/relationships/chart" Target="../charts/chart1822.xml"/></Relationships>
</file>

<file path=ppt/slides/_rels/slide1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1.xml"/><Relationship Id="rId3" Type="http://schemas.openxmlformats.org/officeDocument/2006/relationships/chart" Target="../charts/chart1843.xml"/><Relationship Id="rId4" Type="http://schemas.openxmlformats.org/officeDocument/2006/relationships/chart" Target="../charts/chart1844.xml"/></Relationships>
</file>

<file path=ppt/slides/_rels/slide1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2.xml"/><Relationship Id="rId3" Type="http://schemas.openxmlformats.org/officeDocument/2006/relationships/chart" Target="../charts/chart1845.xml"/><Relationship Id="rId4" Type="http://schemas.openxmlformats.org/officeDocument/2006/relationships/chart" Target="../charts/chart1846.xml"/></Relationships>
</file>

<file path=ppt/slides/_rels/slide1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8.xml"/><Relationship Id="rId3" Type="http://schemas.openxmlformats.org/officeDocument/2006/relationships/chart" Target="../charts/chart1857.xml"/><Relationship Id="rId4" Type="http://schemas.openxmlformats.org/officeDocument/2006/relationships/chart" Target="../charts/chart1858.xml"/></Relationships>
</file>

<file path=ppt/slides/_rels/slide1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9.xml"/><Relationship Id="rId3" Type="http://schemas.openxmlformats.org/officeDocument/2006/relationships/chart" Target="../charts/chart1859.xml"/><Relationship Id="rId4" Type="http://schemas.openxmlformats.org/officeDocument/2006/relationships/chart" Target="../charts/chart1860.xml"/></Relationships>
</file>

<file path=ppt/slides/_rels/slide11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2.xml"/><Relationship Id="rId3" Type="http://schemas.openxmlformats.org/officeDocument/2006/relationships/chart" Target="../charts/chart1865.xml"/><Relationship Id="rId4" Type="http://schemas.openxmlformats.org/officeDocument/2006/relationships/chart" Target="../charts/chart1866.xml"/></Relationships>
</file>

<file path=ppt/slides/_rels/slide1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4.xml"/><Relationship Id="rId3" Type="http://schemas.openxmlformats.org/officeDocument/2006/relationships/chart" Target="../charts/chart1869.xml"/><Relationship Id="rId4" Type="http://schemas.openxmlformats.org/officeDocument/2006/relationships/chart" Target="../charts/chart1870.xml"/></Relationships>
</file>

<file path=ppt/slides/_rels/slide1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5.xml"/><Relationship Id="rId3" Type="http://schemas.openxmlformats.org/officeDocument/2006/relationships/chart" Target="../charts/chart1871.xml"/><Relationship Id="rId4" Type="http://schemas.openxmlformats.org/officeDocument/2006/relationships/chart" Target="../charts/chart1872.xml"/></Relationships>
</file>

<file path=ppt/slides/_rels/slide1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6.xml"/><Relationship Id="rId3" Type="http://schemas.openxmlformats.org/officeDocument/2006/relationships/chart" Target="../charts/chart1873.xml"/><Relationship Id="rId4" Type="http://schemas.openxmlformats.org/officeDocument/2006/relationships/chart" Target="../charts/chart1874.xml"/></Relationships>
</file>

<file path=ppt/slides/_rels/slide11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9.xml"/><Relationship Id="rId3" Type="http://schemas.openxmlformats.org/officeDocument/2006/relationships/chart" Target="../charts/chart1879.xml"/><Relationship Id="rId4" Type="http://schemas.openxmlformats.org/officeDocument/2006/relationships/chart" Target="../charts/chart1880.xml"/></Relationships>
</file>

<file path=ppt/slides/_rels/slide1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3.xml"/><Relationship Id="rId3" Type="http://schemas.openxmlformats.org/officeDocument/2006/relationships/chart" Target="../charts/chart1887.xml"/><Relationship Id="rId4" Type="http://schemas.openxmlformats.org/officeDocument/2006/relationships/chart" Target="../charts/chart1888.xml"/></Relationships>
</file>

<file path=ppt/slides/_rels/slide1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5.xml"/><Relationship Id="rId3" Type="http://schemas.openxmlformats.org/officeDocument/2006/relationships/chart" Target="../charts/chart1891.xml"/><Relationship Id="rId4" Type="http://schemas.openxmlformats.org/officeDocument/2006/relationships/chart" Target="../charts/chart189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xml"/></Relationships>
</file>

<file path=ppt/slides/_rels/slide1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0.xml"/><Relationship Id="rId3" Type="http://schemas.openxmlformats.org/officeDocument/2006/relationships/chart" Target="../charts/chart1901.xml"/><Relationship Id="rId4" Type="http://schemas.openxmlformats.org/officeDocument/2006/relationships/chart" Target="../charts/chart1902.xml"/></Relationships>
</file>

<file path=ppt/slides/_rels/slide1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1.xml"/><Relationship Id="rId3" Type="http://schemas.openxmlformats.org/officeDocument/2006/relationships/chart" Target="../charts/chart1903.xml"/><Relationship Id="rId4" Type="http://schemas.openxmlformats.org/officeDocument/2006/relationships/chart" Target="../charts/chart1904.xml"/></Relationships>
</file>

<file path=ppt/slides/_rels/slide1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7.xml"/><Relationship Id="rId3" Type="http://schemas.openxmlformats.org/officeDocument/2006/relationships/chart" Target="../charts/chart1915.xml"/><Relationship Id="rId4" Type="http://schemas.openxmlformats.org/officeDocument/2006/relationships/chart" Target="../charts/chart1916.xml"/></Relationships>
</file>

<file path=ppt/slides/_rels/slide1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8.xml"/><Relationship Id="rId3" Type="http://schemas.openxmlformats.org/officeDocument/2006/relationships/chart" Target="../charts/chart1917.xml"/><Relationship Id="rId4" Type="http://schemas.openxmlformats.org/officeDocument/2006/relationships/chart" Target="../charts/chart1918.xml"/></Relationships>
</file>

<file path=ppt/slides/_rels/slide11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1.xml"/><Relationship Id="rId3" Type="http://schemas.openxmlformats.org/officeDocument/2006/relationships/chart" Target="../charts/chart1923.xml"/><Relationship Id="rId4" Type="http://schemas.openxmlformats.org/officeDocument/2006/relationships/chart" Target="../charts/chart1924.xml"/></Relationships>
</file>

<file path=ppt/slides/_rels/slide1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6.xml"/><Relationship Id="rId3" Type="http://schemas.openxmlformats.org/officeDocument/2006/relationships/chart" Target="../charts/chart1933.xml"/><Relationship Id="rId4" Type="http://schemas.openxmlformats.org/officeDocument/2006/relationships/chart" Target="../charts/chart1934.xml"/></Relationships>
</file>

<file path=ppt/slides/_rels/slide1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7.xml"/><Relationship Id="rId3" Type="http://schemas.openxmlformats.org/officeDocument/2006/relationships/chart" Target="../charts/chart1935.xml"/><Relationship Id="rId4" Type="http://schemas.openxmlformats.org/officeDocument/2006/relationships/chart" Target="../charts/chart1936.xml"/></Relationships>
</file>

<file path=ppt/slides/_rels/slide1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4.xml"/><Relationship Id="rId3" Type="http://schemas.openxmlformats.org/officeDocument/2006/relationships/chart" Target="../charts/chart1949.xml"/><Relationship Id="rId4" Type="http://schemas.openxmlformats.org/officeDocument/2006/relationships/chart" Target="../charts/chart1950.xml"/></Relationships>
</file>

<file path=ppt/slides/_rels/slide12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7.xml"/><Relationship Id="rId3" Type="http://schemas.openxmlformats.org/officeDocument/2006/relationships/chart" Target="../charts/chart1955.xml"/><Relationship Id="rId4" Type="http://schemas.openxmlformats.org/officeDocument/2006/relationships/chart" Target="../charts/chart1956.xml"/></Relationships>
</file>

<file path=ppt/slides/_rels/slide1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2.xml"/><Relationship Id="rId3" Type="http://schemas.openxmlformats.org/officeDocument/2006/relationships/chart" Target="../charts/chart1965.xml"/><Relationship Id="rId4" Type="http://schemas.openxmlformats.org/officeDocument/2006/relationships/chart" Target="../charts/chart1966.xml"/></Relationships>
</file>

<file path=ppt/slides/_rels/slide1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3.xml"/><Relationship Id="rId3" Type="http://schemas.openxmlformats.org/officeDocument/2006/relationships/chart" Target="../charts/chart1967.xml"/><Relationship Id="rId4" Type="http://schemas.openxmlformats.org/officeDocument/2006/relationships/chart" Target="../charts/chart196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xml"/></Relationships>
</file>

<file path=ppt/slides/_rels/slide1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8.xml"/><Relationship Id="rId3" Type="http://schemas.openxmlformats.org/officeDocument/2006/relationships/chart" Target="../charts/chart1977.xml"/><Relationship Id="rId4" Type="http://schemas.openxmlformats.org/officeDocument/2006/relationships/chart" Target="../charts/chart1978.xml"/></Relationships>
</file>

<file path=ppt/slides/_rels/slide1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9.xml"/><Relationship Id="rId3" Type="http://schemas.openxmlformats.org/officeDocument/2006/relationships/chart" Target="../charts/chart1979.xml"/><Relationship Id="rId4" Type="http://schemas.openxmlformats.org/officeDocument/2006/relationships/chart" Target="../charts/chart1980.xml"/></Relationships>
</file>

<file path=ppt/slides/_rels/slide1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5.xml"/><Relationship Id="rId3" Type="http://schemas.openxmlformats.org/officeDocument/2006/relationships/chart" Target="../charts/chart1991.xml"/><Relationship Id="rId4" Type="http://schemas.openxmlformats.org/officeDocument/2006/relationships/chart" Target="../charts/chart1992.xml"/></Relationships>
</file>

<file path=ppt/slides/_rels/slide1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6.xml"/><Relationship Id="rId3" Type="http://schemas.openxmlformats.org/officeDocument/2006/relationships/chart" Target="../charts/chart1993.xml"/><Relationship Id="rId4" Type="http://schemas.openxmlformats.org/officeDocument/2006/relationships/chart" Target="../charts/chart199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s>
</file>

<file path=ppt/slides/_rels/slide12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9.xml"/><Relationship Id="rId3" Type="http://schemas.openxmlformats.org/officeDocument/2006/relationships/chart" Target="../charts/chart1999.xml"/><Relationship Id="rId4" Type="http://schemas.openxmlformats.org/officeDocument/2006/relationships/chart" Target="../charts/chart2000.xml"/></Relationships>
</file>

<file path=ppt/slides/_rels/slide12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6.xml"/><Relationship Id="rId3" Type="http://schemas.openxmlformats.org/officeDocument/2006/relationships/chart" Target="../charts/chart2013.xml"/><Relationship Id="rId4" Type="http://schemas.openxmlformats.org/officeDocument/2006/relationships/chart" Target="../charts/chart201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xml"/></Relationships>
</file>

<file path=ppt/slides/_rels/slide1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0.xml"/><Relationship Id="rId3" Type="http://schemas.openxmlformats.org/officeDocument/2006/relationships/chart" Target="../charts/chart2021.xml"/><Relationship Id="rId4" Type="http://schemas.openxmlformats.org/officeDocument/2006/relationships/chart" Target="../charts/chart2022.xml"/></Relationships>
</file>

<file path=ppt/slides/_rels/slide1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1.xml"/><Relationship Id="rId3" Type="http://schemas.openxmlformats.org/officeDocument/2006/relationships/chart" Target="../charts/chart2023.xml"/><Relationship Id="rId4" Type="http://schemas.openxmlformats.org/officeDocument/2006/relationships/chart" Target="../charts/chart2024.xml"/></Relationships>
</file>

<file path=ppt/slides/_rels/slide1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7.xml"/><Relationship Id="rId3" Type="http://schemas.openxmlformats.org/officeDocument/2006/relationships/chart" Target="../charts/chart2035.xml"/><Relationship Id="rId4" Type="http://schemas.openxmlformats.org/officeDocument/2006/relationships/chart" Target="../charts/chart2036.xml"/></Relationships>
</file>

<file path=ppt/slides/_rels/slide1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8.xml"/><Relationship Id="rId3" Type="http://schemas.openxmlformats.org/officeDocument/2006/relationships/chart" Target="../charts/chart2037.xml"/><Relationship Id="rId4" Type="http://schemas.openxmlformats.org/officeDocument/2006/relationships/chart" Target="../charts/chart2038.xml"/></Relationships>
</file>

<file path=ppt/slides/_rels/slide12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1.xml"/><Relationship Id="rId3" Type="http://schemas.openxmlformats.org/officeDocument/2006/relationships/chart" Target="../charts/chart2043.xml"/><Relationship Id="rId4" Type="http://schemas.openxmlformats.org/officeDocument/2006/relationships/chart" Target="../charts/chart2044.xml"/></Relationships>
</file>

<file path=ppt/slides/_rels/slide1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4.xml"/><Relationship Id="rId3" Type="http://schemas.openxmlformats.org/officeDocument/2006/relationships/chart" Target="../charts/chart2049.xml"/><Relationship Id="rId4" Type="http://schemas.openxmlformats.org/officeDocument/2006/relationships/chart" Target="../charts/chart2050.xml"/></Relationships>
</file>

<file path=ppt/slides/_rels/slide1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5.xml"/><Relationship Id="rId3" Type="http://schemas.openxmlformats.org/officeDocument/2006/relationships/chart" Target="../charts/chart2051.xml"/><Relationship Id="rId4" Type="http://schemas.openxmlformats.org/officeDocument/2006/relationships/chart" Target="../charts/chart2052.xml"/></Relationships>
</file>

<file path=ppt/slides/_rels/slide12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8.xml"/><Relationship Id="rId3" Type="http://schemas.openxmlformats.org/officeDocument/2006/relationships/chart" Target="../charts/chart2057.xml"/><Relationship Id="rId4" Type="http://schemas.openxmlformats.org/officeDocument/2006/relationships/chart" Target="../charts/chart2058.xml"/></Relationships>
</file>

<file path=ppt/slides/_rels/slide1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2.xml"/><Relationship Id="rId3" Type="http://schemas.openxmlformats.org/officeDocument/2006/relationships/chart" Target="../charts/chart2065.xml"/><Relationship Id="rId4" Type="http://schemas.openxmlformats.org/officeDocument/2006/relationships/chart" Target="../charts/chart2066.xml"/></Relationships>
</file>

<file path=ppt/slides/_rels/slide1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3.xml"/><Relationship Id="rId3" Type="http://schemas.openxmlformats.org/officeDocument/2006/relationships/chart" Target="../charts/chart2067.xml"/><Relationship Id="rId4" Type="http://schemas.openxmlformats.org/officeDocument/2006/relationships/chart" Target="../charts/chart2068.xml"/></Relationships>
</file>

<file path=ppt/slides/_rels/slide1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9.xml"/><Relationship Id="rId3" Type="http://schemas.openxmlformats.org/officeDocument/2006/relationships/chart" Target="../charts/chart2079.xml"/><Relationship Id="rId4" Type="http://schemas.openxmlformats.org/officeDocument/2006/relationships/chart" Target="../charts/chart2080.xml"/></Relationships>
</file>

<file path=ppt/slides/_rels/slide1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0.xml"/><Relationship Id="rId3" Type="http://schemas.openxmlformats.org/officeDocument/2006/relationships/chart" Target="../charts/chart2081.xml"/><Relationship Id="rId4" Type="http://schemas.openxmlformats.org/officeDocument/2006/relationships/chart" Target="../charts/chart2082.xml"/></Relationships>
</file>

<file path=ppt/slides/_rels/slide1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3.xml"/><Relationship Id="rId3" Type="http://schemas.openxmlformats.org/officeDocument/2006/relationships/chart" Target="../charts/chart2087.xml"/><Relationship Id="rId4" Type="http://schemas.openxmlformats.org/officeDocument/2006/relationships/chart" Target="../charts/chart2088.xml"/></Relationships>
</file>

<file path=ppt/slides/_rels/slide1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6.xml"/><Relationship Id="rId3" Type="http://schemas.openxmlformats.org/officeDocument/2006/relationships/chart" Target="../charts/chart2093.xml"/><Relationship Id="rId4" Type="http://schemas.openxmlformats.org/officeDocument/2006/relationships/chart" Target="../charts/chart2094.xml"/></Relationships>
</file>

<file path=ppt/slides/_rels/slide1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7.xml"/><Relationship Id="rId3" Type="http://schemas.openxmlformats.org/officeDocument/2006/relationships/chart" Target="../charts/chart2095.xml"/><Relationship Id="rId4" Type="http://schemas.openxmlformats.org/officeDocument/2006/relationships/chart" Target="../charts/chart2096.xml"/></Relationships>
</file>

<file path=ppt/slides/_rels/slide12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0.xml"/><Relationship Id="rId3" Type="http://schemas.openxmlformats.org/officeDocument/2006/relationships/chart" Target="../charts/chart2101.xml"/><Relationship Id="rId4" Type="http://schemas.openxmlformats.org/officeDocument/2006/relationships/chart" Target="../charts/chart210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s>
</file>

<file path=ppt/slides/_rels/slide1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1.xml"/><Relationship Id="rId3" Type="http://schemas.openxmlformats.org/officeDocument/2006/relationships/chart" Target="../charts/chart2123.xml"/><Relationship Id="rId4" Type="http://schemas.openxmlformats.org/officeDocument/2006/relationships/chart" Target="../charts/chart2124.xml"/></Relationships>
</file>

<file path=ppt/slides/_rels/slide1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2.xml"/><Relationship Id="rId3" Type="http://schemas.openxmlformats.org/officeDocument/2006/relationships/chart" Target="../charts/chart2125.xml"/><Relationship Id="rId4" Type="http://schemas.openxmlformats.org/officeDocument/2006/relationships/chart" Target="../charts/chart2126.xml"/></Relationships>
</file>

<file path=ppt/slides/_rels/slide12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6.xml"/><Relationship Id="rId3" Type="http://schemas.openxmlformats.org/officeDocument/2006/relationships/chart" Target="../charts/chart2133.xml"/><Relationship Id="rId4" Type="http://schemas.openxmlformats.org/officeDocument/2006/relationships/chart" Target="../charts/chart21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xml"/></Relationships>
</file>

<file path=ppt/slides/_rels/slide1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1.xml"/><Relationship Id="rId3" Type="http://schemas.openxmlformats.org/officeDocument/2006/relationships/chart" Target="../charts/chart2143.xml"/><Relationship Id="rId4" Type="http://schemas.openxmlformats.org/officeDocument/2006/relationships/chart" Target="../charts/chart2144.xml"/></Relationships>
</file>

<file path=ppt/slides/_rels/slide1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2.xml"/><Relationship Id="rId3" Type="http://schemas.openxmlformats.org/officeDocument/2006/relationships/chart" Target="../charts/chart2145.xml"/><Relationship Id="rId4" Type="http://schemas.openxmlformats.org/officeDocument/2006/relationships/chart" Target="../charts/chart2146.xml"/></Relationships>
</file>

<file path=ppt/slides/_rels/slide1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7.xml"/><Relationship Id="rId3" Type="http://schemas.openxmlformats.org/officeDocument/2006/relationships/chart" Target="../charts/chart2155.xml"/><Relationship Id="rId4" Type="http://schemas.openxmlformats.org/officeDocument/2006/relationships/chart" Target="../charts/chart2156.xml"/></Relationships>
</file>

<file path=ppt/slides/_rels/slide1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8.xml"/><Relationship Id="rId3" Type="http://schemas.openxmlformats.org/officeDocument/2006/relationships/chart" Target="../charts/chart2157.xml"/><Relationship Id="rId4" Type="http://schemas.openxmlformats.org/officeDocument/2006/relationships/chart" Target="../charts/chart2158.xml"/></Relationships>
</file>

<file path=ppt/slides/_rels/slide1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4.xml"/><Relationship Id="rId3" Type="http://schemas.openxmlformats.org/officeDocument/2006/relationships/chart" Target="../charts/chart2169.xml"/><Relationship Id="rId4" Type="http://schemas.openxmlformats.org/officeDocument/2006/relationships/chart" Target="../charts/chart2170.xml"/></Relationships>
</file>

<file path=ppt/slides/_rels/slide1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5.xml"/><Relationship Id="rId3" Type="http://schemas.openxmlformats.org/officeDocument/2006/relationships/chart" Target="../charts/chart2171.xml"/><Relationship Id="rId4" Type="http://schemas.openxmlformats.org/officeDocument/2006/relationships/chart" Target="../charts/chart2172.xml"/></Relationships>
</file>

<file path=ppt/slides/_rels/slide13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8.xml"/><Relationship Id="rId3" Type="http://schemas.openxmlformats.org/officeDocument/2006/relationships/chart" Target="../charts/chart2177.xml"/><Relationship Id="rId4" Type="http://schemas.openxmlformats.org/officeDocument/2006/relationships/chart" Target="../charts/chart2178.xml"/></Relationships>
</file>

<file path=ppt/slides/_rels/slide1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3.xml"/><Relationship Id="rId3" Type="http://schemas.openxmlformats.org/officeDocument/2006/relationships/chart" Target="../charts/chart2187.xml"/><Relationship Id="rId4" Type="http://schemas.openxmlformats.org/officeDocument/2006/relationships/chart" Target="../charts/chart2188.xml"/></Relationships>
</file>

<file path=ppt/slides/_rels/slide13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5.xml"/><Relationship Id="rId3" Type="http://schemas.openxmlformats.org/officeDocument/2006/relationships/chart" Target="../charts/chart2191.xml"/><Relationship Id="rId4" Type="http://schemas.openxmlformats.org/officeDocument/2006/relationships/chart" Target="../charts/chart219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s>
</file>

<file path=ppt/slides/_rels/slide133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8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9.xml"/></Relationships>
</file>

<file path=ppt/slides/_rels/slide133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8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0.xml"/></Relationships>
</file>

<file path=ppt/slides/_rels/slide133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8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1.xml"/></Relationships>
</file>

<file path=ppt/slides/_rels/slide133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6.xml"/></Relationships>
</file>

<file path=ppt/slides/_rels/slide133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8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7.xml"/></Relationships>
</file>

<file path=ppt/slides/_rels/slide134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8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0.xml"/></Relationships>
</file>

<file path=ppt/slides/_rels/slide134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8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4.xml"/></Relationships>
</file>

<file path=ppt/slides/_rels/slide13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8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7.xml"/></Relationships>
</file>

<file path=ppt/slides/_rels/slide13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8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2.xml"/></Relationships>
</file>

<file path=ppt/slides/_rels/slide13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8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5.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7.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3.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9.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6.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9.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1.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1.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4.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9.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0.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3.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7.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0.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5.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2.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2.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5.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4.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9.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1.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4.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7.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0.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5.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3.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9.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6.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1.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1.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6.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8.xml"/></Relationships>
</file>

<file path=ppt/slides/_rels/slide4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1.xml"/></Relationships>
</file>

<file path=ppt/slides/_rels/slide4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5.xml"/></Relationships>
</file>

<file path=ppt/slides/_rels/slide4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7.xml"/></Relationships>
</file>

<file path=ppt/slides/_rels/slide4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3.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0.xml"/></Relationships>
</file>

<file path=ppt/slides/_rels/slide4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3.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6.xml"/></Relationships>
</file>

<file path=ppt/slides/_rels/slide4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5.xml"/></Relationships>
</file>

<file path=ppt/slides/_rels/slide4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6.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2.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5.xml"/></Relationships>
</file>

<file path=ppt/slides/_rels/slide4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8.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8.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463.xml"/><Relationship Id="rId4" Type="http://schemas.openxmlformats.org/officeDocument/2006/relationships/chart" Target="../charts/chart464.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465.xml"/><Relationship Id="rId4" Type="http://schemas.openxmlformats.org/officeDocument/2006/relationships/chart" Target="../charts/chart466.xml"/></Relationships>
</file>

<file path=ppt/slides/_rels/slide4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475.xml"/><Relationship Id="rId4" Type="http://schemas.openxmlformats.org/officeDocument/2006/relationships/chart" Target="../charts/chart476.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477.xml"/><Relationship Id="rId4" Type="http://schemas.openxmlformats.org/officeDocument/2006/relationships/chart" Target="../charts/chart478.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79.xml"/><Relationship Id="rId4" Type="http://schemas.openxmlformats.org/officeDocument/2006/relationships/chart" Target="../charts/chart480.xml"/></Relationships>
</file>

<file path=ppt/slides/_rels/slide4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485.xml"/><Relationship Id="rId4" Type="http://schemas.openxmlformats.org/officeDocument/2006/relationships/chart" Target="../charts/chart486.xml"/></Relationships>
</file>

<file path=ppt/slides/_rels/slide4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489.xml"/><Relationship Id="rId4" Type="http://schemas.openxmlformats.org/officeDocument/2006/relationships/chart" Target="../charts/chart490.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491.xml"/><Relationship Id="rId4" Type="http://schemas.openxmlformats.org/officeDocument/2006/relationships/chart" Target="../charts/chart492.xml"/></Relationships>
</file>

<file path=ppt/slides/_rels/slide4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497.xml"/><Relationship Id="rId4" Type="http://schemas.openxmlformats.org/officeDocument/2006/relationships/chart" Target="../charts/chart498.xml"/></Relationships>
</file>

<file path=ppt/slides/_rels/slide4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507.xml"/><Relationship Id="rId4" Type="http://schemas.openxmlformats.org/officeDocument/2006/relationships/chart" Target="../charts/chart508.xml"/></Relationships>
</file>

<file path=ppt/slides/_rels/slide4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511.xml"/><Relationship Id="rId4" Type="http://schemas.openxmlformats.org/officeDocument/2006/relationships/chart" Target="../charts/chart512.xml"/></Relationships>
</file>

<file path=ppt/slides/_rels/slide4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519.xml"/><Relationship Id="rId4" Type="http://schemas.openxmlformats.org/officeDocument/2006/relationships/chart" Target="../charts/chart520.xml"/></Relationships>
</file>

<file path=ppt/slides/_rels/slide4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521.xml"/><Relationship Id="rId4" Type="http://schemas.openxmlformats.org/officeDocument/2006/relationships/chart" Target="../charts/chart522.xml"/></Relationships>
</file>

<file path=ppt/slides/_rels/slide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523.xml"/><Relationship Id="rId4" Type="http://schemas.openxmlformats.org/officeDocument/2006/relationships/chart" Target="../charts/chart524.xml"/></Relationships>
</file>

<file path=ppt/slides/_rels/slide5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539.xml"/><Relationship Id="rId4" Type="http://schemas.openxmlformats.org/officeDocument/2006/relationships/chart" Target="../charts/chart540.xml"/></Relationships>
</file>

<file path=ppt/slides/_rels/slide5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541.xml"/><Relationship Id="rId4" Type="http://schemas.openxmlformats.org/officeDocument/2006/relationships/chart" Target="../charts/chart542.xml"/></Relationships>
</file>

<file path=ppt/slides/_rels/slide5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547.xml"/><Relationship Id="rId4" Type="http://schemas.openxmlformats.org/officeDocument/2006/relationships/chart" Target="../charts/chart548.xml"/></Relationships>
</file>

<file path=ppt/slides/_rels/slide5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553.xml"/><Relationship Id="rId4" Type="http://schemas.openxmlformats.org/officeDocument/2006/relationships/chart" Target="../charts/chart554.xml"/></Relationships>
</file>

<file path=ppt/slides/_rels/slide5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chart" Target="../charts/chart555.xml"/><Relationship Id="rId4" Type="http://schemas.openxmlformats.org/officeDocument/2006/relationships/chart" Target="../charts/chart556.xml"/></Relationships>
</file>

<file path=ppt/slides/_rels/slide5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561.xml"/><Relationship Id="rId4" Type="http://schemas.openxmlformats.org/officeDocument/2006/relationships/chart" Target="../charts/chart562.xml"/></Relationships>
</file>

<file path=ppt/slides/_rels/slide5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583.xml"/><Relationship Id="rId4" Type="http://schemas.openxmlformats.org/officeDocument/2006/relationships/chart" Target="../charts/chart584.xml"/></Relationships>
</file>

<file path=ppt/slides/_rels/slide5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585.xml"/><Relationship Id="rId4" Type="http://schemas.openxmlformats.org/officeDocument/2006/relationships/chart" Target="../charts/chart58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xml"/><Relationship Id="rId3" Type="http://schemas.openxmlformats.org/officeDocument/2006/relationships/chart" Target="../charts/chart597.xml"/><Relationship Id="rId4" Type="http://schemas.openxmlformats.org/officeDocument/2006/relationships/chart" Target="../charts/chart598.xml"/></Relationships>
</file>

<file path=ppt/slides/_rels/slide5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xml"/><Relationship Id="rId3" Type="http://schemas.openxmlformats.org/officeDocument/2006/relationships/chart" Target="../charts/chart599.xml"/><Relationship Id="rId4" Type="http://schemas.openxmlformats.org/officeDocument/2006/relationships/chart" Target="../charts/chart600.xml"/></Relationships>
</file>

<file path=ppt/slides/_rels/slide5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605.xml"/><Relationship Id="rId4" Type="http://schemas.openxmlformats.org/officeDocument/2006/relationships/chart" Target="../charts/chart606.xml"/></Relationships>
</file>

<file path=ppt/slides/_rels/slide5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xml"/><Relationship Id="rId3" Type="http://schemas.openxmlformats.org/officeDocument/2006/relationships/chart" Target="../charts/chart609.xml"/><Relationship Id="rId4" Type="http://schemas.openxmlformats.org/officeDocument/2006/relationships/chart" Target="../charts/chart610.xml"/></Relationships>
</file>

<file path=ppt/slides/_rels/slide5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xml"/><Relationship Id="rId3" Type="http://schemas.openxmlformats.org/officeDocument/2006/relationships/chart" Target="../charts/chart611.xml"/><Relationship Id="rId4" Type="http://schemas.openxmlformats.org/officeDocument/2006/relationships/chart" Target="../charts/chart612.xml"/></Relationships>
</file>

<file path=ppt/slides/_rels/slide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xml"/><Relationship Id="rId3" Type="http://schemas.openxmlformats.org/officeDocument/2006/relationships/chart" Target="../charts/chart613.xml"/><Relationship Id="rId4" Type="http://schemas.openxmlformats.org/officeDocument/2006/relationships/chart" Target="../charts/chart6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4.xml"/></Relationships>
</file>

<file path=ppt/slides/_rels/slide5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xml"/><Relationship Id="rId3" Type="http://schemas.openxmlformats.org/officeDocument/2006/relationships/chart" Target="../charts/chart619.xml"/><Relationship Id="rId4" Type="http://schemas.openxmlformats.org/officeDocument/2006/relationships/chart" Target="../charts/chart620.xml"/></Relationships>
</file>

<file path=ppt/slides/_rels/slide5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xml"/><Relationship Id="rId3" Type="http://schemas.openxmlformats.org/officeDocument/2006/relationships/chart" Target="../charts/chart627.xml"/><Relationship Id="rId4" Type="http://schemas.openxmlformats.org/officeDocument/2006/relationships/chart" Target="../charts/chart628.xml"/></Relationships>
</file>

<file path=ppt/slides/_rels/slide5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xml"/><Relationship Id="rId3" Type="http://schemas.openxmlformats.org/officeDocument/2006/relationships/chart" Target="../charts/chart631.xml"/><Relationship Id="rId4" Type="http://schemas.openxmlformats.org/officeDocument/2006/relationships/chart" Target="../charts/chart632.xml"/></Relationships>
</file>

<file path=ppt/slides/_rels/slide5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xml"/><Relationship Id="rId3" Type="http://schemas.openxmlformats.org/officeDocument/2006/relationships/chart" Target="../charts/chart641.xml"/><Relationship Id="rId4" Type="http://schemas.openxmlformats.org/officeDocument/2006/relationships/chart" Target="../charts/chart642.xml"/></Relationships>
</file>

<file path=ppt/slides/_rels/slide5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xml"/><Relationship Id="rId3" Type="http://schemas.openxmlformats.org/officeDocument/2006/relationships/chart" Target="../charts/chart643.xml"/><Relationship Id="rId4" Type="http://schemas.openxmlformats.org/officeDocument/2006/relationships/chart" Target="../charts/chart644.xml"/></Relationships>
</file>

<file path=ppt/slides/_rels/slide5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655.xml"/><Relationship Id="rId4" Type="http://schemas.openxmlformats.org/officeDocument/2006/relationships/chart" Target="../charts/chart656.xml"/></Relationships>
</file>

<file path=ppt/slides/_rels/slide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xml"/><Relationship Id="rId3" Type="http://schemas.openxmlformats.org/officeDocument/2006/relationships/chart" Target="../charts/chart657.xml"/><Relationship Id="rId4" Type="http://schemas.openxmlformats.org/officeDocument/2006/relationships/chart" Target="../charts/chart658.xml"/></Relationships>
</file>

<file path=ppt/slides/_rels/slide5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663.xml"/><Relationship Id="rId4" Type="http://schemas.openxmlformats.org/officeDocument/2006/relationships/chart" Target="../charts/chart664.xml"/></Relationships>
</file>

<file path=ppt/slides/_rels/slide5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4.xml"/><Relationship Id="rId3" Type="http://schemas.openxmlformats.org/officeDocument/2006/relationships/chart" Target="../charts/chart669.xml"/><Relationship Id="rId4" Type="http://schemas.openxmlformats.org/officeDocument/2006/relationships/chart" Target="../charts/chart670.xml"/></Relationships>
</file>

<file path=ppt/slides/_rels/slide5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2.xml"/><Relationship Id="rId3" Type="http://schemas.openxmlformats.org/officeDocument/2006/relationships/chart" Target="../charts/chart685.xml"/><Relationship Id="rId4" Type="http://schemas.openxmlformats.org/officeDocument/2006/relationships/chart" Target="../charts/chart686.xml"/></Relationships>
</file>

<file path=ppt/slides/_rels/slide5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3.xml"/><Relationship Id="rId3" Type="http://schemas.openxmlformats.org/officeDocument/2006/relationships/chart" Target="../charts/chart687.xml"/><Relationship Id="rId4" Type="http://schemas.openxmlformats.org/officeDocument/2006/relationships/chart" Target="../charts/chart688.xml"/></Relationships>
</file>

<file path=ppt/slides/_rels/slide5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4.xml"/><Relationship Id="rId3" Type="http://schemas.openxmlformats.org/officeDocument/2006/relationships/chart" Target="../charts/chart689.xml"/><Relationship Id="rId4" Type="http://schemas.openxmlformats.org/officeDocument/2006/relationships/chart" Target="../charts/chart690.xml"/></Relationships>
</file>

<file path=ppt/slides/_rels/slide5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699.xml"/><Relationship Id="rId4" Type="http://schemas.openxmlformats.org/officeDocument/2006/relationships/chart" Target="../charts/chart700.xml"/></Relationships>
</file>

<file path=ppt/slides/_rels/slide5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0.xml"/><Relationship Id="rId3" Type="http://schemas.openxmlformats.org/officeDocument/2006/relationships/chart" Target="../charts/chart701.xml"/><Relationship Id="rId4" Type="http://schemas.openxmlformats.org/officeDocument/2006/relationships/chart" Target="../charts/chart702.xml"/></Relationships>
</file>

<file path=ppt/slides/_rels/slide5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707.xml"/><Relationship Id="rId4" Type="http://schemas.openxmlformats.org/officeDocument/2006/relationships/chart" Target="../charts/chart708.xml"/></Relationships>
</file>

<file path=ppt/slides/_rels/slide5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5.xml"/><Relationship Id="rId3" Type="http://schemas.openxmlformats.org/officeDocument/2006/relationships/chart" Target="../charts/chart711.xml"/><Relationship Id="rId4" Type="http://schemas.openxmlformats.org/officeDocument/2006/relationships/chart" Target="../charts/chart712.xml"/></Relationships>
</file>

<file path=ppt/slides/_rels/slide5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713.xml"/><Relationship Id="rId4" Type="http://schemas.openxmlformats.org/officeDocument/2006/relationships/chart" Target="../charts/chart714.xml"/></Relationships>
</file>

<file path=ppt/slides/_rels/slide5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5.xml"/><Relationship Id="rId3" Type="http://schemas.openxmlformats.org/officeDocument/2006/relationships/chart" Target="../charts/chart731.xml"/><Relationship Id="rId4" Type="http://schemas.openxmlformats.org/officeDocument/2006/relationships/chart" Target="../charts/chart732.xml"/></Relationships>
</file>

<file path=ppt/slides/_rels/slide5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6.xml"/><Relationship Id="rId3" Type="http://schemas.openxmlformats.org/officeDocument/2006/relationships/chart" Target="../charts/chart733.xml"/><Relationship Id="rId4" Type="http://schemas.openxmlformats.org/officeDocument/2006/relationships/chart" Target="../charts/chart73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0.xml"/></Relationships>
</file>

<file path=ppt/slides/_rels/slide6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739.xml"/><Relationship Id="rId4" Type="http://schemas.openxmlformats.org/officeDocument/2006/relationships/chart" Target="../charts/chart740.xml"/></Relationships>
</file>

<file path=ppt/slides/_rels/slide6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753.xml"/><Relationship Id="rId4" Type="http://schemas.openxmlformats.org/officeDocument/2006/relationships/chart" Target="../charts/chart75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s>
</file>

<file path=ppt/slides/_rels/slide6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0.xml"/><Relationship Id="rId3" Type="http://schemas.openxmlformats.org/officeDocument/2006/relationships/chart" Target="../charts/chart761.xml"/><Relationship Id="rId4" Type="http://schemas.openxmlformats.org/officeDocument/2006/relationships/chart" Target="../charts/chart762.xml"/></Relationships>
</file>

<file path=ppt/slides/_rels/slide6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763.xml"/><Relationship Id="rId4" Type="http://schemas.openxmlformats.org/officeDocument/2006/relationships/chart" Target="../charts/chart764.xml"/></Relationships>
</file>

<file path=ppt/slides/_rels/slide6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7.xml"/><Relationship Id="rId3" Type="http://schemas.openxmlformats.org/officeDocument/2006/relationships/chart" Target="../charts/chart775.xml"/><Relationship Id="rId4" Type="http://schemas.openxmlformats.org/officeDocument/2006/relationships/chart" Target="../charts/chart776.xml"/></Relationships>
</file>

<file path=ppt/slides/_rels/slide6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8.xml"/><Relationship Id="rId3" Type="http://schemas.openxmlformats.org/officeDocument/2006/relationships/chart" Target="../charts/chart777.xml"/><Relationship Id="rId4" Type="http://schemas.openxmlformats.org/officeDocument/2006/relationships/chart" Target="../charts/chart778.xml"/></Relationships>
</file>

<file path=ppt/slides/_rels/slide6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1.xml"/><Relationship Id="rId3" Type="http://schemas.openxmlformats.org/officeDocument/2006/relationships/chart" Target="../charts/chart783.xml"/><Relationship Id="rId4" Type="http://schemas.openxmlformats.org/officeDocument/2006/relationships/chart" Target="../charts/chart784.xml"/></Relationships>
</file>

<file path=ppt/slides/_rels/slide6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4.xml"/><Relationship Id="rId3" Type="http://schemas.openxmlformats.org/officeDocument/2006/relationships/chart" Target="../charts/chart789.xml"/><Relationship Id="rId4" Type="http://schemas.openxmlformats.org/officeDocument/2006/relationships/chart" Target="../charts/chart790.xml"/></Relationships>
</file>

<file path=ppt/slides/_rels/slide6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5.xml"/><Relationship Id="rId3" Type="http://schemas.openxmlformats.org/officeDocument/2006/relationships/chart" Target="../charts/chart791.xml"/><Relationship Id="rId4" Type="http://schemas.openxmlformats.org/officeDocument/2006/relationships/chart" Target="../charts/chart792.xml"/></Relationships>
</file>

<file path=ppt/slides/_rels/slide6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797.xml"/><Relationship Id="rId4" Type="http://schemas.openxmlformats.org/officeDocument/2006/relationships/chart" Target="../charts/chart798.xml"/></Relationships>
</file>

<file path=ppt/slides/_rels/slide6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2.xml"/><Relationship Id="rId3" Type="http://schemas.openxmlformats.org/officeDocument/2006/relationships/chart" Target="../charts/chart805.xml"/><Relationship Id="rId4" Type="http://schemas.openxmlformats.org/officeDocument/2006/relationships/chart" Target="../charts/chart806.xml"/></Relationships>
</file>

<file path=ppt/slides/_rels/slide6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3.xml"/><Relationship Id="rId3" Type="http://schemas.openxmlformats.org/officeDocument/2006/relationships/chart" Target="../charts/chart807.xml"/><Relationship Id="rId4" Type="http://schemas.openxmlformats.org/officeDocument/2006/relationships/chart" Target="../charts/chart80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4.xml"/></Relationships>
</file>

<file path=ppt/slides/_rels/slide6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9.xml"/><Relationship Id="rId3" Type="http://schemas.openxmlformats.org/officeDocument/2006/relationships/chart" Target="../charts/chart819.xml"/><Relationship Id="rId4" Type="http://schemas.openxmlformats.org/officeDocument/2006/relationships/chart" Target="../charts/chart820.xml"/></Relationships>
</file>

<file path=ppt/slides/_rels/slide6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0.xml"/><Relationship Id="rId3" Type="http://schemas.openxmlformats.org/officeDocument/2006/relationships/chart" Target="../charts/chart821.xml"/><Relationship Id="rId4" Type="http://schemas.openxmlformats.org/officeDocument/2006/relationships/chart" Target="../charts/chart822.xml"/></Relationships>
</file>

<file path=ppt/slides/_rels/slide6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3.xml"/><Relationship Id="rId3" Type="http://schemas.openxmlformats.org/officeDocument/2006/relationships/chart" Target="../charts/chart827.xml"/><Relationship Id="rId4" Type="http://schemas.openxmlformats.org/officeDocument/2006/relationships/chart" Target="../charts/chart828.xml"/></Relationships>
</file>

<file path=ppt/slides/_rels/slide6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6.xml"/><Relationship Id="rId3" Type="http://schemas.openxmlformats.org/officeDocument/2006/relationships/chart" Target="../charts/chart833.xml"/><Relationship Id="rId4" Type="http://schemas.openxmlformats.org/officeDocument/2006/relationships/chart" Target="../charts/chart834.xml"/></Relationships>
</file>

<file path=ppt/slides/_rels/slide6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7.xml"/><Relationship Id="rId3" Type="http://schemas.openxmlformats.org/officeDocument/2006/relationships/chart" Target="../charts/chart835.xml"/><Relationship Id="rId4" Type="http://schemas.openxmlformats.org/officeDocument/2006/relationships/chart" Target="../charts/chart836.xml"/></Relationships>
</file>

<file path=ppt/slides/_rels/slide6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0.xml"/><Relationship Id="rId3" Type="http://schemas.openxmlformats.org/officeDocument/2006/relationships/chart" Target="../charts/chart841.xml"/><Relationship Id="rId4" Type="http://schemas.openxmlformats.org/officeDocument/2006/relationships/chart" Target="../charts/chart84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6.xml"/></Relationships>
</file>

<file path=ppt/slides/_rels/slide6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1.xml"/><Relationship Id="rId3" Type="http://schemas.openxmlformats.org/officeDocument/2006/relationships/chart" Target="../charts/chart863.xml"/><Relationship Id="rId4" Type="http://schemas.openxmlformats.org/officeDocument/2006/relationships/chart" Target="../charts/chart864.xml"/></Relationships>
</file>

<file path=ppt/slides/_rels/slide6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2.xml"/><Relationship Id="rId3" Type="http://schemas.openxmlformats.org/officeDocument/2006/relationships/chart" Target="../charts/chart865.xml"/><Relationship Id="rId4" Type="http://schemas.openxmlformats.org/officeDocument/2006/relationships/chart" Target="../charts/chart86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s>
</file>

<file path=ppt/slides/_rels/slide6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8.xml"/><Relationship Id="rId3" Type="http://schemas.openxmlformats.org/officeDocument/2006/relationships/chart" Target="../charts/chart877.xml"/><Relationship Id="rId4" Type="http://schemas.openxmlformats.org/officeDocument/2006/relationships/chart" Target="../charts/chart878.xml"/></Relationships>
</file>

<file path=ppt/slides/_rels/slide6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9.xml"/><Relationship Id="rId3" Type="http://schemas.openxmlformats.org/officeDocument/2006/relationships/chart" Target="../charts/chart879.xml"/><Relationship Id="rId4" Type="http://schemas.openxmlformats.org/officeDocument/2006/relationships/chart" Target="../charts/chart880.xml"/></Relationships>
</file>

<file path=ppt/slides/_rels/slide6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885.xml"/><Relationship Id="rId4" Type="http://schemas.openxmlformats.org/officeDocument/2006/relationships/chart" Target="../charts/chart886.xml"/></Relationships>
</file>

<file path=ppt/slides/_rels/slide6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4.xml"/><Relationship Id="rId3" Type="http://schemas.openxmlformats.org/officeDocument/2006/relationships/chart" Target="../charts/chart889.xml"/><Relationship Id="rId4" Type="http://schemas.openxmlformats.org/officeDocument/2006/relationships/chart" Target="../charts/chart890.xml"/></Relationships>
</file>

<file path=ppt/slides/_rels/slide6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5.xml"/><Relationship Id="rId3" Type="http://schemas.openxmlformats.org/officeDocument/2006/relationships/chart" Target="../charts/chart891.xml"/><Relationship Id="rId4" Type="http://schemas.openxmlformats.org/officeDocument/2006/relationships/chart" Target="../charts/chart892.xml"/></Relationships>
</file>

<file path=ppt/slides/_rels/slide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6.xml"/><Relationship Id="rId3" Type="http://schemas.openxmlformats.org/officeDocument/2006/relationships/chart" Target="../charts/chart893.xml"/><Relationship Id="rId4" Type="http://schemas.openxmlformats.org/officeDocument/2006/relationships/chart" Target="../charts/chart894.xml"/></Relationships>
</file>

<file path=ppt/slides/_rels/slide6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9.xml"/><Relationship Id="rId3" Type="http://schemas.openxmlformats.org/officeDocument/2006/relationships/chart" Target="../charts/chart899.xml"/><Relationship Id="rId4" Type="http://schemas.openxmlformats.org/officeDocument/2006/relationships/chart" Target="../charts/chart900.xml"/></Relationships>
</file>

<file path=ppt/slides/_rels/slide6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3.xml"/><Relationship Id="rId3" Type="http://schemas.openxmlformats.org/officeDocument/2006/relationships/chart" Target="../charts/chart907.xml"/><Relationship Id="rId4" Type="http://schemas.openxmlformats.org/officeDocument/2006/relationships/chart" Target="../charts/chart908.xml"/></Relationships>
</file>

<file path=ppt/slides/_rels/slide6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5.xml"/><Relationship Id="rId3" Type="http://schemas.openxmlformats.org/officeDocument/2006/relationships/chart" Target="../charts/chart911.xml"/><Relationship Id="rId4" Type="http://schemas.openxmlformats.org/officeDocument/2006/relationships/chart" Target="../charts/chart912.xml"/></Relationships>
</file>

<file path=ppt/slides/_rels/slide6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0.xml"/><Relationship Id="rId3" Type="http://schemas.openxmlformats.org/officeDocument/2006/relationships/chart" Target="../charts/chart921.xml"/><Relationship Id="rId4" Type="http://schemas.openxmlformats.org/officeDocument/2006/relationships/chart" Target="../charts/chart922.xml"/></Relationships>
</file>

<file path=ppt/slides/_rels/slide6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1.xml"/><Relationship Id="rId3" Type="http://schemas.openxmlformats.org/officeDocument/2006/relationships/chart" Target="../charts/chart923.xml"/><Relationship Id="rId4" Type="http://schemas.openxmlformats.org/officeDocument/2006/relationships/chart" Target="../charts/chart924.xml"/></Relationships>
</file>

<file path=ppt/slides/_rels/slide6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931.xml"/><Relationship Id="rId4" Type="http://schemas.openxmlformats.org/officeDocument/2006/relationships/chart" Target="../charts/chart932.xml"/></Relationships>
</file>

<file path=ppt/slides/_rels/slide7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9.xml"/><Relationship Id="rId3" Type="http://schemas.openxmlformats.org/officeDocument/2006/relationships/chart" Target="../charts/chart939.xml"/><Relationship Id="rId4" Type="http://schemas.openxmlformats.org/officeDocument/2006/relationships/chart" Target="../charts/chart940.xml"/></Relationships>
</file>

<file path=ppt/slides/_rels/slide7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0.xml"/><Relationship Id="rId3" Type="http://schemas.openxmlformats.org/officeDocument/2006/relationships/chart" Target="../charts/chart941.xml"/><Relationship Id="rId4" Type="http://schemas.openxmlformats.org/officeDocument/2006/relationships/chart" Target="../charts/chart942.xml"/></Relationships>
</file>

<file path=ppt/slides/_rels/slide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943.xml"/><Relationship Id="rId4" Type="http://schemas.openxmlformats.org/officeDocument/2006/relationships/chart" Target="../charts/chart944.xml"/></Relationships>
</file>

<file path=ppt/slides/_rels/slide7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6.xml"/><Relationship Id="rId3" Type="http://schemas.openxmlformats.org/officeDocument/2006/relationships/chart" Target="../charts/chart953.xml"/><Relationship Id="rId4" Type="http://schemas.openxmlformats.org/officeDocument/2006/relationships/chart" Target="../charts/chart954.xml"/></Relationships>
</file>

<file path=ppt/slides/_rels/slide7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7.xml"/><Relationship Id="rId3" Type="http://schemas.openxmlformats.org/officeDocument/2006/relationships/chart" Target="../charts/chart955.xml"/><Relationship Id="rId4" Type="http://schemas.openxmlformats.org/officeDocument/2006/relationships/chart" Target="../charts/chart956.xml"/></Relationships>
</file>

<file path=ppt/slides/_rels/slide7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0.xml"/><Relationship Id="rId3" Type="http://schemas.openxmlformats.org/officeDocument/2006/relationships/chart" Target="../charts/chart961.xml"/><Relationship Id="rId4" Type="http://schemas.openxmlformats.org/officeDocument/2006/relationships/chart" Target="../charts/chart962.xml"/></Relationships>
</file>

<file path=ppt/slides/_rels/slide7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4.xml"/><Relationship Id="rId3" Type="http://schemas.openxmlformats.org/officeDocument/2006/relationships/chart" Target="../charts/chart969.xml"/><Relationship Id="rId4" Type="http://schemas.openxmlformats.org/officeDocument/2006/relationships/chart" Target="../charts/chart970.xml"/></Relationships>
</file>

<file path=ppt/slides/_rels/slide7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7.xml"/><Relationship Id="rId3" Type="http://schemas.openxmlformats.org/officeDocument/2006/relationships/chart" Target="../charts/chart975.xml"/><Relationship Id="rId4" Type="http://schemas.openxmlformats.org/officeDocument/2006/relationships/chart" Target="../charts/chart976.xml"/></Relationships>
</file>

<file path=ppt/slides/_rels/slide7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2.xml"/><Relationship Id="rId3" Type="http://schemas.openxmlformats.org/officeDocument/2006/relationships/chart" Target="../charts/chart985.xml"/><Relationship Id="rId4" Type="http://schemas.openxmlformats.org/officeDocument/2006/relationships/chart" Target="../charts/chart986.xml"/></Relationships>
</file>

<file path=ppt/slides/_rels/slide7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987.xml"/><Relationship Id="rId4" Type="http://schemas.openxmlformats.org/officeDocument/2006/relationships/chart" Target="../charts/chart988.xml"/></Relationships>
</file>

<file path=ppt/slides/_rels/slide7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8.xml"/><Relationship Id="rId3" Type="http://schemas.openxmlformats.org/officeDocument/2006/relationships/chart" Target="../charts/chart997.xml"/><Relationship Id="rId4" Type="http://schemas.openxmlformats.org/officeDocument/2006/relationships/chart" Target="../charts/chart998.xml"/></Relationships>
</file>

<file path=ppt/slides/_rels/slide7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9.xml"/><Relationship Id="rId3" Type="http://schemas.openxmlformats.org/officeDocument/2006/relationships/chart" Target="../charts/chart999.xml"/><Relationship Id="rId4" Type="http://schemas.openxmlformats.org/officeDocument/2006/relationships/chart" Target="../charts/chart1000.xml"/></Relationships>
</file>

<file path=ppt/slides/_rels/slide7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5.xml"/><Relationship Id="rId3" Type="http://schemas.openxmlformats.org/officeDocument/2006/relationships/chart" Target="../charts/chart1011.xml"/><Relationship Id="rId4" Type="http://schemas.openxmlformats.org/officeDocument/2006/relationships/chart" Target="../charts/chart1012.xml"/></Relationships>
</file>

<file path=ppt/slides/_rels/slide7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6.xml"/><Relationship Id="rId3" Type="http://schemas.openxmlformats.org/officeDocument/2006/relationships/chart" Target="../charts/chart1013.xml"/><Relationship Id="rId4" Type="http://schemas.openxmlformats.org/officeDocument/2006/relationships/chart" Target="../charts/chart1014.xml"/></Relationships>
</file>

<file path=ppt/slides/_rels/slide7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9.xml"/><Relationship Id="rId3" Type="http://schemas.openxmlformats.org/officeDocument/2006/relationships/chart" Target="../charts/chart1019.xml"/><Relationship Id="rId4" Type="http://schemas.openxmlformats.org/officeDocument/2006/relationships/chart" Target="../charts/chart1020.xml"/></Relationships>
</file>

<file path=ppt/slides/_rels/slide7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6.xml"/><Relationship Id="rId3" Type="http://schemas.openxmlformats.org/officeDocument/2006/relationships/chart" Target="../charts/chart1033.xml"/><Relationship Id="rId4" Type="http://schemas.openxmlformats.org/officeDocument/2006/relationships/chart" Target="../charts/chart103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s>
</file>

<file path=ppt/slides/_rels/slide7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0.xml"/><Relationship Id="rId3" Type="http://schemas.openxmlformats.org/officeDocument/2006/relationships/chart" Target="../charts/chart1041.xml"/><Relationship Id="rId4" Type="http://schemas.openxmlformats.org/officeDocument/2006/relationships/chart" Target="../charts/chart1042.xml"/></Relationships>
</file>

<file path=ppt/slides/_rels/slide7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1.xml"/><Relationship Id="rId3" Type="http://schemas.openxmlformats.org/officeDocument/2006/relationships/chart" Target="../charts/chart1043.xml"/><Relationship Id="rId4" Type="http://schemas.openxmlformats.org/officeDocument/2006/relationships/chart" Target="../charts/chart1044.xml"/></Relationships>
</file>

<file path=ppt/slides/_rels/slide7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7.xml"/><Relationship Id="rId3" Type="http://schemas.openxmlformats.org/officeDocument/2006/relationships/chart" Target="../charts/chart1055.xml"/><Relationship Id="rId4" Type="http://schemas.openxmlformats.org/officeDocument/2006/relationships/chart" Target="../charts/chart1056.xml"/></Relationships>
</file>

<file path=ppt/slides/_rels/slide7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8.xml"/><Relationship Id="rId3" Type="http://schemas.openxmlformats.org/officeDocument/2006/relationships/chart" Target="../charts/chart1057.xml"/><Relationship Id="rId4" Type="http://schemas.openxmlformats.org/officeDocument/2006/relationships/chart" Target="../charts/chart1058.xml"/></Relationships>
</file>

<file path=ppt/slides/_rels/slide7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1063.xml"/><Relationship Id="rId4" Type="http://schemas.openxmlformats.org/officeDocument/2006/relationships/chart" Target="../charts/chart1064.xml"/></Relationships>
</file>

<file path=ppt/slides/_rels/slide7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4.xml"/><Relationship Id="rId3" Type="http://schemas.openxmlformats.org/officeDocument/2006/relationships/chart" Target="../charts/chart1069.xml"/><Relationship Id="rId4" Type="http://schemas.openxmlformats.org/officeDocument/2006/relationships/chart" Target="../charts/chart1070.xml"/></Relationships>
</file>

<file path=ppt/slides/_rels/slide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5.xml"/><Relationship Id="rId3" Type="http://schemas.openxmlformats.org/officeDocument/2006/relationships/chart" Target="../charts/chart1071.xml"/><Relationship Id="rId4" Type="http://schemas.openxmlformats.org/officeDocument/2006/relationships/chart" Target="../charts/chart107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s>
</file>

<file path=ppt/slides/_rels/slide7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8.xml"/><Relationship Id="rId3" Type="http://schemas.openxmlformats.org/officeDocument/2006/relationships/chart" Target="../charts/chart1077.xml"/><Relationship Id="rId4" Type="http://schemas.openxmlformats.org/officeDocument/2006/relationships/chart" Target="../charts/chart1078.xml"/></Relationships>
</file>

<file path=ppt/slides/_rels/slide7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2.xml"/><Relationship Id="rId3" Type="http://schemas.openxmlformats.org/officeDocument/2006/relationships/chart" Target="../charts/chart1085.xml"/><Relationship Id="rId4" Type="http://schemas.openxmlformats.org/officeDocument/2006/relationships/chart" Target="../charts/chart1086.xml"/></Relationships>
</file>

<file path=ppt/slides/_rels/slide7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3.xml"/><Relationship Id="rId3" Type="http://schemas.openxmlformats.org/officeDocument/2006/relationships/chart" Target="../charts/chart1087.xml"/><Relationship Id="rId4" Type="http://schemas.openxmlformats.org/officeDocument/2006/relationships/chart" Target="../charts/chart1088.xml"/></Relationships>
</file>

<file path=ppt/slides/_rels/slide7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9.xml"/><Relationship Id="rId3" Type="http://schemas.openxmlformats.org/officeDocument/2006/relationships/chart" Target="../charts/chart1099.xml"/><Relationship Id="rId4" Type="http://schemas.openxmlformats.org/officeDocument/2006/relationships/chart" Target="../charts/chart1100.xml"/></Relationships>
</file>

<file path=ppt/slides/_rels/slide7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0.xml"/><Relationship Id="rId3" Type="http://schemas.openxmlformats.org/officeDocument/2006/relationships/chart" Target="../charts/chart1101.xml"/><Relationship Id="rId4" Type="http://schemas.openxmlformats.org/officeDocument/2006/relationships/chart" Target="../charts/chart1102.xml"/></Relationships>
</file>

<file path=ppt/slides/_rels/slide7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1107.xml"/><Relationship Id="rId4" Type="http://schemas.openxmlformats.org/officeDocument/2006/relationships/chart" Target="../charts/chart1108.xml"/></Relationships>
</file>

<file path=ppt/slides/_rels/slide7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6.xml"/><Relationship Id="rId3" Type="http://schemas.openxmlformats.org/officeDocument/2006/relationships/chart" Target="../charts/chart1113.xml"/><Relationship Id="rId4" Type="http://schemas.openxmlformats.org/officeDocument/2006/relationships/chart" Target="../charts/chart1114.xml"/></Relationships>
</file>

<file path=ppt/slides/_rels/slide7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7.xml"/><Relationship Id="rId3" Type="http://schemas.openxmlformats.org/officeDocument/2006/relationships/chart" Target="../charts/chart1115.xml"/><Relationship Id="rId4" Type="http://schemas.openxmlformats.org/officeDocument/2006/relationships/chart" Target="../charts/chart1116.xml"/></Relationships>
</file>

<file path=ppt/slides/_rels/slide7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1121.xml"/><Relationship Id="rId4" Type="http://schemas.openxmlformats.org/officeDocument/2006/relationships/chart" Target="../charts/chart1122.xml"/></Relationships>
</file>

<file path=ppt/slides/_rels/slide7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5.xml"/><Relationship Id="rId3" Type="http://schemas.openxmlformats.org/officeDocument/2006/relationships/chart" Target="../charts/chart1131.xml"/><Relationship Id="rId4" Type="http://schemas.openxmlformats.org/officeDocument/2006/relationships/chart" Target="../charts/chart1132.xml"/></Relationships>
</file>

<file path=ppt/slides/_rels/slide7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6.xml"/><Relationship Id="rId3" Type="http://schemas.openxmlformats.org/officeDocument/2006/relationships/chart" Target="../charts/chart1133.xml"/><Relationship Id="rId4" Type="http://schemas.openxmlformats.org/officeDocument/2006/relationships/chart" Target="../charts/chart1134.xml"/></Relationships>
</file>

<file path=ppt/slides/_rels/slide8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6.xml"/><Relationship Id="rId3" Type="http://schemas.openxmlformats.org/officeDocument/2006/relationships/chart" Target="../charts/chart1153.xml"/><Relationship Id="rId4" Type="http://schemas.openxmlformats.org/officeDocument/2006/relationships/chart" Target="../charts/chart1154.xml"/></Relationships>
</file>

<file path=ppt/slides/_rels/slide8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1.xml"/><Relationship Id="rId3" Type="http://schemas.openxmlformats.org/officeDocument/2006/relationships/chart" Target="../charts/chart1163.xml"/><Relationship Id="rId4" Type="http://schemas.openxmlformats.org/officeDocument/2006/relationships/chart" Target="../charts/chart1164.xml"/></Relationships>
</file>

<file path=ppt/slides/_rels/slide8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1165.xml"/><Relationship Id="rId4" Type="http://schemas.openxmlformats.org/officeDocument/2006/relationships/chart" Target="../charts/chart1166.xml"/></Relationships>
</file>

<file path=ppt/slides/_rels/slide8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7.xml"/><Relationship Id="rId3" Type="http://schemas.openxmlformats.org/officeDocument/2006/relationships/chart" Target="../charts/chart1175.xml"/><Relationship Id="rId4" Type="http://schemas.openxmlformats.org/officeDocument/2006/relationships/chart" Target="../charts/chart117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xml"/></Relationships>
</file>

<file path=ppt/slides/_rels/slide8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8.xml"/><Relationship Id="rId3" Type="http://schemas.openxmlformats.org/officeDocument/2006/relationships/chart" Target="../charts/chart1177.xml"/><Relationship Id="rId4" Type="http://schemas.openxmlformats.org/officeDocument/2006/relationships/chart" Target="../charts/chart1178.xml"/></Relationships>
</file>

<file path=ppt/slides/_rels/slide8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4.xml"/><Relationship Id="rId3" Type="http://schemas.openxmlformats.org/officeDocument/2006/relationships/chart" Target="../charts/chart1189.xml"/><Relationship Id="rId4" Type="http://schemas.openxmlformats.org/officeDocument/2006/relationships/chart" Target="../charts/chart1190.xml"/></Relationships>
</file>

<file path=ppt/slides/_rels/slide8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5.xml"/><Relationship Id="rId3" Type="http://schemas.openxmlformats.org/officeDocument/2006/relationships/chart" Target="../charts/chart1191.xml"/><Relationship Id="rId4" Type="http://schemas.openxmlformats.org/officeDocument/2006/relationships/chart" Target="../charts/chart119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s>
</file>

<file path=ppt/slides/_rels/slide8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8.xml"/><Relationship Id="rId3" Type="http://schemas.openxmlformats.org/officeDocument/2006/relationships/chart" Target="../charts/chart1197.xml"/><Relationship Id="rId4" Type="http://schemas.openxmlformats.org/officeDocument/2006/relationships/chart" Target="../charts/chart1198.xml"/></Relationships>
</file>

<file path=ppt/slides/_rels/slide8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3.xml"/><Relationship Id="rId3" Type="http://schemas.openxmlformats.org/officeDocument/2006/relationships/chart" Target="../charts/chart1207.xml"/><Relationship Id="rId4" Type="http://schemas.openxmlformats.org/officeDocument/2006/relationships/chart" Target="../charts/chart1208.xml"/></Relationships>
</file>

<file path=ppt/slides/_rels/slide8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5.xml"/><Relationship Id="rId3" Type="http://schemas.openxmlformats.org/officeDocument/2006/relationships/chart" Target="../charts/chart1211.xml"/><Relationship Id="rId4" Type="http://schemas.openxmlformats.org/officeDocument/2006/relationships/chart" Target="../charts/chart1212.xml"/></Relationships>
</file>

<file path=ppt/slides/_rels/slide8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9.xml"/><Relationship Id="rId3" Type="http://schemas.openxmlformats.org/officeDocument/2006/relationships/chart" Target="../charts/chart1219.xml"/><Relationship Id="rId4" Type="http://schemas.openxmlformats.org/officeDocument/2006/relationships/chart" Target="../charts/chart1220.xml"/></Relationships>
</file>

<file path=ppt/slides/_rels/slide8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0.xml"/><Relationship Id="rId3" Type="http://schemas.openxmlformats.org/officeDocument/2006/relationships/chart" Target="../charts/chart1221.xml"/><Relationship Id="rId4" Type="http://schemas.openxmlformats.org/officeDocument/2006/relationships/chart" Target="../charts/chart1222.xml"/></Relationships>
</file>

<file path=ppt/slides/_rels/slide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1.xml"/><Relationship Id="rId3" Type="http://schemas.openxmlformats.org/officeDocument/2006/relationships/chart" Target="../charts/chart1223.xml"/><Relationship Id="rId4" Type="http://schemas.openxmlformats.org/officeDocument/2006/relationships/chart" Target="../charts/chart1224.xml"/></Relationships>
</file>

<file path=ppt/slides/_rels/slide8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6.xml"/><Relationship Id="rId3" Type="http://schemas.openxmlformats.org/officeDocument/2006/relationships/chart" Target="../charts/chart1233.xml"/><Relationship Id="rId4" Type="http://schemas.openxmlformats.org/officeDocument/2006/relationships/chart" Target="../charts/chart1234.xml"/></Relationships>
</file>

<file path=ppt/slides/_rels/slide8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7.xml"/><Relationship Id="rId3" Type="http://schemas.openxmlformats.org/officeDocument/2006/relationships/chart" Target="../charts/chart1235.xml"/><Relationship Id="rId4" Type="http://schemas.openxmlformats.org/officeDocument/2006/relationships/chart" Target="../charts/chart1236.xml"/></Relationships>
</file>

<file path=ppt/slides/_rels/slide8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0.xml"/><Relationship Id="rId3" Type="http://schemas.openxmlformats.org/officeDocument/2006/relationships/chart" Target="../charts/chart1241.xml"/><Relationship Id="rId4" Type="http://schemas.openxmlformats.org/officeDocument/2006/relationships/chart" Target="../charts/chart1242.xml"/></Relationships>
</file>

<file path=ppt/slides/_rels/slide8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4.xml"/><Relationship Id="rId3" Type="http://schemas.openxmlformats.org/officeDocument/2006/relationships/chart" Target="../charts/chart1249.xml"/><Relationship Id="rId4" Type="http://schemas.openxmlformats.org/officeDocument/2006/relationships/chart" Target="../charts/chart1250.xml"/></Relationships>
</file>

<file path=ppt/slides/_rels/slide8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7.xml"/><Relationship Id="rId3" Type="http://schemas.openxmlformats.org/officeDocument/2006/relationships/chart" Target="../charts/chart1255.xml"/><Relationship Id="rId4" Type="http://schemas.openxmlformats.org/officeDocument/2006/relationships/chart" Target="../charts/chart1256.xml"/></Relationships>
</file>

<file path=ppt/slides/_rels/slide8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2.xml"/><Relationship Id="rId3" Type="http://schemas.openxmlformats.org/officeDocument/2006/relationships/chart" Target="../charts/chart1265.xml"/><Relationship Id="rId4" Type="http://schemas.openxmlformats.org/officeDocument/2006/relationships/chart" Target="../charts/chart1266.xml"/></Relationships>
</file>

<file path=ppt/slides/_rels/slide8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3.xml"/><Relationship Id="rId3" Type="http://schemas.openxmlformats.org/officeDocument/2006/relationships/chart" Target="../charts/chart1267.xml"/><Relationship Id="rId4" Type="http://schemas.openxmlformats.org/officeDocument/2006/relationships/chart" Target="../charts/chart1268.xml"/></Relationships>
</file>

<file path=ppt/slides/_rels/slide8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8.xml"/><Relationship Id="rId3" Type="http://schemas.openxmlformats.org/officeDocument/2006/relationships/chart" Target="../charts/chart1277.xml"/><Relationship Id="rId4" Type="http://schemas.openxmlformats.org/officeDocument/2006/relationships/chart" Target="../charts/chart1278.xml"/></Relationships>
</file>

<file path=ppt/slides/_rels/slide8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9.xml"/><Relationship Id="rId3" Type="http://schemas.openxmlformats.org/officeDocument/2006/relationships/chart" Target="../charts/chart1279.xml"/><Relationship Id="rId4" Type="http://schemas.openxmlformats.org/officeDocument/2006/relationships/chart" Target="../charts/chart1280.xml"/></Relationships>
</file>

<file path=ppt/slides/_rels/slide8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5.xml"/><Relationship Id="rId3" Type="http://schemas.openxmlformats.org/officeDocument/2006/relationships/chart" Target="../charts/chart1291.xml"/><Relationship Id="rId4" Type="http://schemas.openxmlformats.org/officeDocument/2006/relationships/chart" Target="../charts/chart1292.xml"/></Relationships>
</file>

<file path=ppt/slides/_rels/slide8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6.xml"/><Relationship Id="rId3" Type="http://schemas.openxmlformats.org/officeDocument/2006/relationships/chart" Target="../charts/chart1293.xml"/><Relationship Id="rId4" Type="http://schemas.openxmlformats.org/officeDocument/2006/relationships/chart" Target="../charts/chart129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xml"/></Relationships>
</file>

<file path=ppt/slides/_rels/slide8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9.xml"/><Relationship Id="rId3" Type="http://schemas.openxmlformats.org/officeDocument/2006/relationships/chart" Target="../charts/chart1299.xml"/><Relationship Id="rId4" Type="http://schemas.openxmlformats.org/officeDocument/2006/relationships/chart" Target="../charts/chart1300.xml"/></Relationships>
</file>

<file path=ppt/slides/_rels/slide8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6.xml"/><Relationship Id="rId3" Type="http://schemas.openxmlformats.org/officeDocument/2006/relationships/chart" Target="../charts/chart1313.xml"/><Relationship Id="rId4" Type="http://schemas.openxmlformats.org/officeDocument/2006/relationships/chart" Target="../charts/chart131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s>
</file>

<file path=ppt/slides/_rels/slide8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0.xml"/><Relationship Id="rId3" Type="http://schemas.openxmlformats.org/officeDocument/2006/relationships/chart" Target="../charts/chart1321.xml"/><Relationship Id="rId4" Type="http://schemas.openxmlformats.org/officeDocument/2006/relationships/chart" Target="../charts/chart1322.xml"/></Relationships>
</file>

<file path=ppt/slides/_rels/slide8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1.xml"/><Relationship Id="rId3" Type="http://schemas.openxmlformats.org/officeDocument/2006/relationships/chart" Target="../charts/chart1323.xml"/><Relationship Id="rId4" Type="http://schemas.openxmlformats.org/officeDocument/2006/relationships/chart" Target="../charts/chart1324.xml"/></Relationships>
</file>

<file path=ppt/slides/_rels/slide8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5.xml"/><Relationship Id="rId3" Type="http://schemas.openxmlformats.org/officeDocument/2006/relationships/chart" Target="../charts/chart1331.xml"/><Relationship Id="rId4" Type="http://schemas.openxmlformats.org/officeDocument/2006/relationships/chart" Target="../charts/chart13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s>
</file>

<file path=ppt/slides/_rels/slide9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0.xml"/><Relationship Id="rId3" Type="http://schemas.openxmlformats.org/officeDocument/2006/relationships/chart" Target="../charts/chart1341.xml"/><Relationship Id="rId4" Type="http://schemas.openxmlformats.org/officeDocument/2006/relationships/chart" Target="../charts/chart1342.xml"/></Relationships>
</file>

<file path=ppt/slides/_rels/slide9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1.xml"/><Relationship Id="rId3" Type="http://schemas.openxmlformats.org/officeDocument/2006/relationships/chart" Target="../charts/chart1343.xml"/><Relationship Id="rId4" Type="http://schemas.openxmlformats.org/officeDocument/2006/relationships/chart" Target="../charts/chart1344.xml"/></Relationships>
</file>

<file path=ppt/slides/_rels/slide9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6.xml"/><Relationship Id="rId3" Type="http://schemas.openxmlformats.org/officeDocument/2006/relationships/chart" Target="../charts/chart1353.xml"/><Relationship Id="rId4" Type="http://schemas.openxmlformats.org/officeDocument/2006/relationships/chart" Target="../charts/chart1354.xml"/></Relationships>
</file>

<file path=ppt/slides/_rels/slide9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7.xml"/><Relationship Id="rId3" Type="http://schemas.openxmlformats.org/officeDocument/2006/relationships/chart" Target="../charts/chart1355.xml"/><Relationship Id="rId4" Type="http://schemas.openxmlformats.org/officeDocument/2006/relationships/chart" Target="../charts/chart1356.xml"/></Relationships>
</file>

<file path=ppt/slides/_rels/slide9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8.xml"/><Relationship Id="rId3" Type="http://schemas.openxmlformats.org/officeDocument/2006/relationships/chart" Target="../charts/chart1357.xml"/><Relationship Id="rId4" Type="http://schemas.openxmlformats.org/officeDocument/2006/relationships/chart" Target="../charts/chart1358.xml"/></Relationships>
</file>

<file path=ppt/slides/_rels/slide9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1.xml"/><Relationship Id="rId3" Type="http://schemas.openxmlformats.org/officeDocument/2006/relationships/chart" Target="../charts/chart1363.xml"/><Relationship Id="rId4" Type="http://schemas.openxmlformats.org/officeDocument/2006/relationships/chart" Target="../charts/chart1364.xml"/></Relationships>
</file>

<file path=ppt/slides/_rels/slide9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4.xml"/><Relationship Id="rId3" Type="http://schemas.openxmlformats.org/officeDocument/2006/relationships/chart" Target="../charts/chart1369.xml"/><Relationship Id="rId4" Type="http://schemas.openxmlformats.org/officeDocument/2006/relationships/chart" Target="../charts/chart1370.xml"/></Relationships>
</file>

<file path=ppt/slides/_rels/slide9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2.xml"/><Relationship Id="rId3" Type="http://schemas.openxmlformats.org/officeDocument/2006/relationships/chart" Target="../charts/chart1385.xml"/><Relationship Id="rId4" Type="http://schemas.openxmlformats.org/officeDocument/2006/relationships/chart" Target="../charts/chart1386.xml"/></Relationships>
</file>

<file path=ppt/slides/_rels/slide9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1387.xml"/><Relationship Id="rId4" Type="http://schemas.openxmlformats.org/officeDocument/2006/relationships/chart" Target="../charts/chart1388.xml"/></Relationships>
</file>

<file path=ppt/slides/_rels/slide9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4.xml"/><Relationship Id="rId3" Type="http://schemas.openxmlformats.org/officeDocument/2006/relationships/chart" Target="../charts/chart1389.xml"/><Relationship Id="rId4" Type="http://schemas.openxmlformats.org/officeDocument/2006/relationships/chart" Target="../charts/chart1390.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9.xml"/><Relationship Id="rId3" Type="http://schemas.openxmlformats.org/officeDocument/2006/relationships/chart" Target="../charts/chart1399.xml"/><Relationship Id="rId4" Type="http://schemas.openxmlformats.org/officeDocument/2006/relationships/chart" Target="../charts/chart1400.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0.xml"/><Relationship Id="rId3" Type="http://schemas.openxmlformats.org/officeDocument/2006/relationships/chart" Target="../charts/chart1401.xml"/><Relationship Id="rId4" Type="http://schemas.openxmlformats.org/officeDocument/2006/relationships/chart" Target="../charts/chart1402.xml"/></Relationships>
</file>

<file path=ppt/slides/_rels/slide9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3.xml"/><Relationship Id="rId3" Type="http://schemas.openxmlformats.org/officeDocument/2006/relationships/chart" Target="../charts/chart1407.xml"/><Relationship Id="rId4" Type="http://schemas.openxmlformats.org/officeDocument/2006/relationships/chart" Target="../charts/chart1408.xml"/></Relationships>
</file>

<file path=ppt/slides/_rels/slide9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5.xml"/><Relationship Id="rId3" Type="http://schemas.openxmlformats.org/officeDocument/2006/relationships/chart" Target="../charts/chart1411.xml"/><Relationship Id="rId4" Type="http://schemas.openxmlformats.org/officeDocument/2006/relationships/chart" Target="../charts/chart1412.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6.xml"/><Relationship Id="rId3" Type="http://schemas.openxmlformats.org/officeDocument/2006/relationships/chart" Target="../charts/chart1413.xml"/><Relationship Id="rId4" Type="http://schemas.openxmlformats.org/officeDocument/2006/relationships/chart" Target="../charts/chart1414.xml"/></Relationships>
</file>

<file path=ppt/slides/_rels/slide9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6.xml"/><Relationship Id="rId3" Type="http://schemas.openxmlformats.org/officeDocument/2006/relationships/chart" Target="../charts/chart1433.xml"/><Relationship Id="rId4" Type="http://schemas.openxmlformats.org/officeDocument/2006/relationships/chart" Target="../charts/chart1434.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1.xml"/><Relationship Id="rId3" Type="http://schemas.openxmlformats.org/officeDocument/2006/relationships/chart" Target="../charts/chart1443.xml"/><Relationship Id="rId4" Type="http://schemas.openxmlformats.org/officeDocument/2006/relationships/chart" Target="../charts/chart1444.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2.xml"/><Relationship Id="rId3" Type="http://schemas.openxmlformats.org/officeDocument/2006/relationships/chart" Target="../charts/chart1445.xml"/><Relationship Id="rId4" Type="http://schemas.openxmlformats.org/officeDocument/2006/relationships/chart" Target="../charts/chart1446.xml"/></Relationships>
</file>

<file path=ppt/slides/_rels/slide9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7.xml"/><Relationship Id="rId3" Type="http://schemas.openxmlformats.org/officeDocument/2006/relationships/chart" Target="../charts/chart1455.xml"/><Relationship Id="rId4" Type="http://schemas.openxmlformats.org/officeDocument/2006/relationships/chart" Target="../charts/chart145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8.xml"/><Relationship Id="rId3" Type="http://schemas.openxmlformats.org/officeDocument/2006/relationships/chart" Target="../charts/chart1457.xml"/><Relationship Id="rId4" Type="http://schemas.openxmlformats.org/officeDocument/2006/relationships/chart" Target="../charts/chart1458.xml"/></Relationships>
</file>

<file path=ppt/slides/_rels/slide9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4.xml"/><Relationship Id="rId3" Type="http://schemas.openxmlformats.org/officeDocument/2006/relationships/chart" Target="../charts/chart1469.xml"/><Relationship Id="rId4" Type="http://schemas.openxmlformats.org/officeDocument/2006/relationships/chart" Target="../charts/chart1470.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5.xml"/><Relationship Id="rId3" Type="http://schemas.openxmlformats.org/officeDocument/2006/relationships/chart" Target="../charts/chart1471.xml"/><Relationship Id="rId4" Type="http://schemas.openxmlformats.org/officeDocument/2006/relationships/chart" Target="../charts/chart1472.xml"/></Relationships>
</file>

<file path=ppt/slides/_rels/slide9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8.xml"/><Relationship Id="rId3" Type="http://schemas.openxmlformats.org/officeDocument/2006/relationships/chart" Target="../charts/chart1477.xml"/><Relationship Id="rId4" Type="http://schemas.openxmlformats.org/officeDocument/2006/relationships/chart" Target="../charts/chart1478.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3.xml"/><Relationship Id="rId3" Type="http://schemas.openxmlformats.org/officeDocument/2006/relationships/chart" Target="../charts/chart1487.xml"/><Relationship Id="rId4" Type="http://schemas.openxmlformats.org/officeDocument/2006/relationships/chart" Target="../charts/chart1488.xml"/></Relationships>
</file>

<file path=ppt/slides/_rels/slide9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5.xml"/><Relationship Id="rId3" Type="http://schemas.openxmlformats.org/officeDocument/2006/relationships/chart" Target="../charts/chart1491.xml"/><Relationship Id="rId4" Type="http://schemas.openxmlformats.org/officeDocument/2006/relationships/chart" Target="../charts/chart1492.xml"/></Relationships>
</file>

<file path=ppt/slides/_rels/slide9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9.xml"/><Relationship Id="rId3" Type="http://schemas.openxmlformats.org/officeDocument/2006/relationships/chart" Target="../charts/chart1499.xml"/><Relationship Id="rId4" Type="http://schemas.openxmlformats.org/officeDocument/2006/relationships/chart" Target="../charts/chart1500.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0.xml"/><Relationship Id="rId3" Type="http://schemas.openxmlformats.org/officeDocument/2006/relationships/chart" Target="../charts/chart1501.xml"/><Relationship Id="rId4" Type="http://schemas.openxmlformats.org/officeDocument/2006/relationships/chart" Target="../charts/chart1502.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1.xml"/><Relationship Id="rId3" Type="http://schemas.openxmlformats.org/officeDocument/2006/relationships/chart" Target="../charts/chart1503.xml"/><Relationship Id="rId4" Type="http://schemas.openxmlformats.org/officeDocument/2006/relationships/chart" Target="../charts/chart1504.xml"/></Relationships>
</file>

<file path=ppt/slides/_rels/slide9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6.xml"/><Relationship Id="rId3" Type="http://schemas.openxmlformats.org/officeDocument/2006/relationships/chart" Target="../charts/chart1513.xml"/><Relationship Id="rId4" Type="http://schemas.openxmlformats.org/officeDocument/2006/relationships/chart" Target="../charts/chart1514.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7.xml"/><Relationship Id="rId3" Type="http://schemas.openxmlformats.org/officeDocument/2006/relationships/chart" Target="../charts/chart1515.xml"/><Relationship Id="rId4" Type="http://schemas.openxmlformats.org/officeDocument/2006/relationships/chart" Target="../charts/chart1516.xml"/></Relationships>
</file>

<file path=ppt/slides/_rels/slide9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0.xml"/><Relationship Id="rId3" Type="http://schemas.openxmlformats.org/officeDocument/2006/relationships/chart" Target="../charts/chart1521.xml"/><Relationship Id="rId4" Type="http://schemas.openxmlformats.org/officeDocument/2006/relationships/chart" Target="../charts/chart1522.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6.xml"/><Relationship Id="rId3" Type="http://schemas.openxmlformats.org/officeDocument/2006/relationships/chart" Target="../charts/chart1533.xml"/><Relationship Id="rId4" Type="http://schemas.openxmlformats.org/officeDocument/2006/relationships/chart" Target="../charts/chart1534.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7.xml"/><Relationship Id="rId3" Type="http://schemas.openxmlformats.org/officeDocument/2006/relationships/chart" Target="../charts/chart1535.xml"/><Relationship Id="rId4" Type="http://schemas.openxmlformats.org/officeDocument/2006/relationships/chart" Target="../charts/chart1536.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0836271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7135550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221143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45092652"/>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5533197"/>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99734767"/>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1187939"/>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3468606"/>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5482225"/>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9268421"/>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02495746"/>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52783737"/>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09574967"/>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97585448"/>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lanc De Blancs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2842471"/>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5001915"/>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69460513"/>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92732900"/>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76991642"/>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65712321"/>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08083182"/>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0886224"/>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9176738"/>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Bruts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3294638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 BR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33529094"/>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41717200"/>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4251604"/>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3738690"/>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5022646"/>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1379876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59834032"/>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02871326"/>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9447653"/>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77884504"/>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ru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60926662"/>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0132837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01151974"/>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61207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87597708"/>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9848426"/>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78344345"/>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73808492"/>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67274879"/>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NICOLAS LO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8489746"/>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18268766"/>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xtra Brut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99623249"/>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34255937"/>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46970563"/>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59873475"/>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6878899"/>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5078461"/>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96846863"/>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57070649"/>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illesimes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39170439"/>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20684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01761"/>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76199"/>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1845226"/>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2518243"/>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8838930"/>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93636630"/>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63844714"/>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5607006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32447423"/>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51004282"/>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Rosés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90626"/>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59166344"/>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83606602"/>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6701388"/>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01419939"/>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4888749"/>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39450276"/>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9410546"/>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urgogne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9462541"/>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9706591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01328085"/>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17529820"/>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1314329"/>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64246252"/>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112257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34979466"/>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58992211"/>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249924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92020582"/>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88252704"/>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Italien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47789774"/>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3316741"/>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68656362"/>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73583037"/>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2335908"/>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19995864"/>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91276093"/>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54443942"/>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NICOLAS LO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6983346"/>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88873682"/>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Val De Loire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92294332"/>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7525872"/>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4311728"/>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4832689"/>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7879582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26592371"/>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4861699"/>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NICOLAS LO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06145935"/>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Alsace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2388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80622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67484926"/>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5061739"/>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4494422"/>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0789101"/>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35928614"/>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84545175"/>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87370773"/>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25285356"/>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620062"/>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Bordelai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674273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66862104"/>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65.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7.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541319330"/>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7.9</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255134687"/>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9.5</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6</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239380745"/>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VC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989877302"/>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R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6</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2439871678"/>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IDF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6.9</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731958914"/>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682786155"/>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NICOLAS ND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320583466"/>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CA 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259276419"/>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Effervescents | CA B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7</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18770276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BR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7269563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8629198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087410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9293924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9115473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765344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019689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366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8527543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8773956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88116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4102268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lanc De Blancs | Category Trends | CA 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0884169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837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3503201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4209589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CCQ</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8764757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8863739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3477836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9014635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970605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3963227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CE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932334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NICOLAS BO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00779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475822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Bruts | Category Trends | CA 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9279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Q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3148533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97935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CCQ</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6168169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C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5484224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7563459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6096912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8750364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rus | Category Trends | CA 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5900647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Q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0435318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V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8432982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937757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732283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R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3330546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CCQ</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4880246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7175321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62303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5723847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NICOLAS BR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6173274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xtra Brut | Category Trends | CA 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30042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146905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1040970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Q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14253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V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688086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R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895736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CCQ</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9643224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5738829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420668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2263877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NICOLAS BR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588736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3673083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illesimes | Category Trends | CA B</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7211912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4428647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Q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3300068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5026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7675316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0390226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891523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32610726"/>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HA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2069007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Rosés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6318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AQ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7108702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54384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0347394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3710900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0897528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C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6099164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8908800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7552632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ES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1159733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HA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0835399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8535758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NICOLAS CE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0950208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urgogne | Category Trends | CA 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33139531"/>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014425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8790669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1772097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2904479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C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4272391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247767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92919901"/>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NICOLAS CE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372938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HA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5621193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CA 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07571733"/>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Italiens | Category Trends | CA 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561754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67920746"/>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V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880336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Q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9433242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C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5921210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IDF</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13042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6584850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AQ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111694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BR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22694963"/>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31641696"/>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NICOLAS CE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414690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Val De Loire | Category Trends | CA B</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3981707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12429393"/>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59088371"/>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87745192"/>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8474929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90881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1322074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AQ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32958554"/>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HAU</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7395116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Alsace | Category Trends | NICOLAS LO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500744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3608060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02915038"/>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812021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 CC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75375984"/>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1892271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 C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9827316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 PA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2877426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NICOLAS RHO</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6462732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ousseux Bordelais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9164903"/>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0879968"/>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42821544"/>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14059566"/>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0986965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30989722"/>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4503018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1000400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33363183"/>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560010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86026728"/>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7275564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088555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15193100"/>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79409201"/>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773329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2483361"/>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7172528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8151558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5671303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hampagnes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84500622"/>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34628826"/>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19067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CA 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3990824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7578264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8950560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276469"/>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166217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62148022"/>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08513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Category Trends | CA 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13918601"/>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0245806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4912709"/>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ffervescents Sans Alcool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9951033"/>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2096884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6960556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8036669"/>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62820427"/>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29192856"/>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53205254"/>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50933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11994968"/>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81711077"/>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35634949"/>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4238303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8280422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5697215"/>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8320864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76681501"/>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ND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55125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6261650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lanc De Blanc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9976409"/>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075607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Q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34656128"/>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0032803"/>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12199777"/>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4639269"/>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89833320"/>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86231489"/>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93488337"/>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ND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4620925"/>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76366884"/>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75504331"/>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Brut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56261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QC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1043010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70611317"/>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1708950"/>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65908018"/>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08006338"/>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11115955"/>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90805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VC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87591226"/>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3374445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ru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043666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R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30863363"/>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0085443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23274609"/>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435652"/>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559399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7366325"/>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76515976"/>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97299134"/>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80584598"/>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56869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912685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xtra Brut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676882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48404560"/>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3912350"/>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56970787"/>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000168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34130063"/>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60691792"/>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41435085"/>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1874363"/>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illesime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9464188"/>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74159132"/>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06573798"/>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005706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4965350"/>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60084557"/>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67386424"/>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1197014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Rosé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288564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OCC</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0370637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05165314"/>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6009574"/>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176092"/>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850551"/>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688328"/>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2396583"/>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8141741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NICOLAS NDI</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2021934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HA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7705872"/>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6983662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urgogne | NICOLAS BO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1361404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80071404"/>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23730154"/>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32563617"/>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CC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77648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7399792"/>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304156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5242435"/>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05698958"/>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Italien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88136382"/>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89482757"/>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9906233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848724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CA A</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76322374"/>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40293134"/>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9178280"/>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427639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hampagnes | Category Trends | CA B</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16225905"/>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7571833"/>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18575981"/>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Val De Loire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61372932"/>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29921151"/>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8283001"/>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74617856"/>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22403163"/>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90440809"/>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99580069"/>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O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93419567"/>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367114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1442659"/>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Alsace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09297403"/>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HMS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65901141"/>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NICOLAS Q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68449713"/>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08363350"/>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NICOLAS CCQ</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33893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11559711"/>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29525270"/>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80939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HMS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52911685"/>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CA 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65024976"/>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ousseux Bordelais | CA B</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8374499"/>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82693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 Nicolas | Category Trends | NICOLAS VC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33706629"/>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64598477"/>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88696394"/>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19987624"/>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7211056"/>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PA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6968574"/>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ES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67388890"/>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NICOLAS NDI</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7883986"/>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1612607"/>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9149979"/>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59400073"/>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8255927"/>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QCA</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11869468"/>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R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99616511"/>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0012652"/>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6884519"/>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6739149"/>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77475429"/>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ampagnes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48076622"/>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21452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June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ffervescents Sans Alcool | Category Trends | NICOLAS R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73564957"/>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03946457"/>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CC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04755429"/>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IDF</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12136047"/>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67769720"/>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BR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86723971"/>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NICOLAS CE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1668409"/>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CA C</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7258682"/>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CA 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58426401"/>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ffervescents Sans Alcool | CA 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7344293"/>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VC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970553"/>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Q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3225834"/>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VC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8941524"/>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RHO</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36083433"/>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June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ousseux | NICOLAS AQU</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71657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8-29T08:50:58Z</dcterms:modified>
</cp:coreProperties>
</file>